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notesSlides/notesSlide1.xml" ContentType="application/vnd.openxmlformats-officedocument.presentationml.notesSlide+xml"/>
  <Override PartName="/ppt/tags/tag49.xml" ContentType="application/vnd.openxmlformats-officedocument.presentationml.tags+xml"/>
  <Override PartName="/ppt/notesSlides/notesSlide2.xml" ContentType="application/vnd.openxmlformats-officedocument.presentationml.notesSlide+xml"/>
  <Override PartName="/ppt/tags/tag50.xml" ContentType="application/vnd.openxmlformats-officedocument.presentationml.tags+xml"/>
  <Override PartName="/ppt/notesSlides/notesSlide3.xml" ContentType="application/vnd.openxmlformats-officedocument.presentationml.notesSlide+xml"/>
  <Override PartName="/ppt/tags/tag51.xml" ContentType="application/vnd.openxmlformats-officedocument.presentationml.tags+xml"/>
  <Override PartName="/ppt/notesSlides/notesSlide4.xml" ContentType="application/vnd.openxmlformats-officedocument.presentationml.notesSlide+xml"/>
  <Override PartName="/ppt/tags/tag52.xml" ContentType="application/vnd.openxmlformats-officedocument.presentationml.tags+xml"/>
  <Override PartName="/ppt/notesSlides/notesSlide5.xml" ContentType="application/vnd.openxmlformats-officedocument.presentationml.notesSlide+xml"/>
  <Override PartName="/ppt/tags/tag53.xml" ContentType="application/vnd.openxmlformats-officedocument.presentationml.tags+xml"/>
  <Override PartName="/ppt/notesSlides/notesSlide6.xml" ContentType="application/vnd.openxmlformats-officedocument.presentationml.notesSlide+xml"/>
  <Override PartName="/ppt/tags/tag54.xml" ContentType="application/vnd.openxmlformats-officedocument.presentationml.tags+xml"/>
  <Override PartName="/ppt/charts/chart21.xml" ContentType="application/vnd.openxmlformats-officedocument.drawingml.chart+xml"/>
  <Override PartName="/ppt/tags/tag55.xml" ContentType="application/vnd.openxmlformats-officedocument.presentationml.tags+xml"/>
  <Override PartName="/ppt/charts/chart22.xml" ContentType="application/vnd.openxmlformats-officedocument.drawingml.chart+xml"/>
  <Override PartName="/ppt/tags/tag56.xml" ContentType="application/vnd.openxmlformats-officedocument.presentationml.tags+xml"/>
  <Override PartName="/ppt/charts/chart23.xml" ContentType="application/vnd.openxmlformats-officedocument.drawingml.chart+xml"/>
  <Override PartName="/ppt/tags/tag57.xml" ContentType="application/vnd.openxmlformats-officedocument.presentationml.tags+xml"/>
  <Override PartName="/ppt/charts/chart24.xml" ContentType="application/vnd.openxmlformats-officedocument.drawingml.chart+xml"/>
  <Override PartName="/ppt/tags/tag58.xml" ContentType="application/vnd.openxmlformats-officedocument.presentationml.tags+xml"/>
  <Override PartName="/ppt/charts/chart25.xml" ContentType="application/vnd.openxmlformats-officedocument.drawingml.chart+xml"/>
  <Override PartName="/ppt/tags/tag59.xml" ContentType="application/vnd.openxmlformats-officedocument.presentationml.tags+xml"/>
  <Override PartName="/ppt/charts/chart26.xml" ContentType="application/vnd.openxmlformats-officedocument.drawingml.chart+xml"/>
  <Override PartName="/ppt/tags/tag60.xml" ContentType="application/vnd.openxmlformats-officedocument.presentationml.tags+xml"/>
  <Override PartName="/ppt/charts/chart27.xml" ContentType="application/vnd.openxmlformats-officedocument.drawingml.chart+xml"/>
  <Override PartName="/ppt/tags/tag61.xml" ContentType="application/vnd.openxmlformats-officedocument.presentationml.tags+xml"/>
  <Override PartName="/ppt/charts/chart28.xml" ContentType="application/vnd.openxmlformats-officedocument.drawingml.chart+xml"/>
  <Override PartName="/ppt/tags/tag62.xml" ContentType="application/vnd.openxmlformats-officedocument.presentationml.tags+xml"/>
  <Override PartName="/ppt/charts/chart29.xml" ContentType="application/vnd.openxmlformats-officedocument.drawingml.chart+xml"/>
  <Override PartName="/ppt/tags/tag63.xml" ContentType="application/vnd.openxmlformats-officedocument.presentationml.tags+xml"/>
  <Override PartName="/ppt/charts/chart30.xml" ContentType="application/vnd.openxmlformats-officedocument.drawingml.chart+xml"/>
  <Override PartName="/ppt/tags/tag64.xml" ContentType="application/vnd.openxmlformats-officedocument.presentationml.tags+xml"/>
  <Override PartName="/ppt/charts/chart31.xml" ContentType="application/vnd.openxmlformats-officedocument.drawingml.chart+xml"/>
  <Override PartName="/ppt/tags/tag65.xml" ContentType="application/vnd.openxmlformats-officedocument.presentationml.tags+xml"/>
  <Override PartName="/ppt/charts/chart32.xml" ContentType="application/vnd.openxmlformats-officedocument.drawingml.chart+xml"/>
  <Override PartName="/ppt/tags/tag66.xml" ContentType="application/vnd.openxmlformats-officedocument.presentationml.tags+xml"/>
  <Override PartName="/ppt/charts/chart33.xml" ContentType="application/vnd.openxmlformats-officedocument.drawingml.chart+xml"/>
  <Override PartName="/ppt/tags/tag67.xml" ContentType="application/vnd.openxmlformats-officedocument.presentationml.tags+xml"/>
  <Override PartName="/ppt/charts/chart34.xml" ContentType="application/vnd.openxmlformats-officedocument.drawingml.chart+xml"/>
  <Override PartName="/ppt/tags/tag68.xml" ContentType="application/vnd.openxmlformats-officedocument.presentationml.tags+xml"/>
  <Override PartName="/ppt/charts/chart35.xml" ContentType="application/vnd.openxmlformats-officedocument.drawingml.chart+xml"/>
  <Override PartName="/ppt/tags/tag69.xml" ContentType="application/vnd.openxmlformats-officedocument.presentationml.tags+xml"/>
  <Override PartName="/ppt/charts/chart36.xml" ContentType="application/vnd.openxmlformats-officedocument.drawingml.chart+xml"/>
  <Override PartName="/ppt/tags/tag70.xml" ContentType="application/vnd.openxmlformats-officedocument.presentationml.tags+xml"/>
  <Override PartName="/ppt/charts/chart37.xml" ContentType="application/vnd.openxmlformats-officedocument.drawingml.chart+xml"/>
  <Override PartName="/ppt/tags/tag71.xml" ContentType="application/vnd.openxmlformats-officedocument.presentationml.tags+xml"/>
  <Override PartName="/ppt/charts/chart38.xml" ContentType="application/vnd.openxmlformats-officedocument.drawingml.chart+xml"/>
  <Override PartName="/ppt/tags/tag72.xml" ContentType="application/vnd.openxmlformats-officedocument.presentationml.tags+xml"/>
  <Override PartName="/ppt/charts/chart39.xml" ContentType="application/vnd.openxmlformats-officedocument.drawingml.chart+xml"/>
  <Override PartName="/ppt/tags/tag73.xml" ContentType="application/vnd.openxmlformats-officedocument.presentationml.tags+xml"/>
  <Override PartName="/ppt/charts/chart40.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51"/>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id="{6DB4CC5B-96AE-4026-9A47-29781E7E5CF9}">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Lst>
        </p14:section>
        <p14:section name="Sectors Share and Growth By Brands" id="{C06770D5-199A-41F7-9FC7-01DF5FAAB150}">
          <p14:sldIdLst>
            <p14:sldId id="2147477385"/>
            <p14:sldId id="2147477386"/>
            <p14:sldId id="2147477387"/>
          </p14:sldIdLst>
        </p14:section>
        <p14:section name="Segments Share and Growth By Brands" id="{0895EF53-D6F6-4653-9300-B6877A1F8205}">
          <p14:sldIdLst>
            <p14:sldId id="2147477388"/>
            <p14:sldId id="2147477389"/>
            <p14:sldId id="2147477390"/>
          </p14:sldIdLst>
        </p14:section>
        <p14:section name="Price Point Distribution Analysis By Brand" id="{92631D1E-AFA5-4974-8617-8D09B1934C75}">
          <p14:sldIdLst>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86B83A-2193-4AAA-917F-34F1B1D410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D0E76DC-A029-482E-9576-A3319FA1B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C0FE6B-6886-4BD2-80F8-57C26BC168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71F3D85-20CA-42EF-A7A2-2F0DA32AED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0EA0EA3-5598-4EDD-A4DA-54DBE59F9D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648ABBF-44E4-4C2D-AB39-610E39C24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480D509-636B-46B1-900D-CDB2287B7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B155647-13C3-47A9-BC8C-262509BA7A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0792999999999999</c:v>
                </c:pt>
                <c:pt idx="1">
                  <c:v>2.3864999999999998</c:v>
                </c:pt>
                <c:pt idx="2">
                  <c:v>2.3683000000000001</c:v>
                </c:pt>
                <c:pt idx="3">
                  <c:v>2.8965999999999998</c:v>
                </c:pt>
                <c:pt idx="4">
                  <c:v>2.754</c:v>
                </c:pt>
                <c:pt idx="5">
                  <c:v>3.2795000000000001</c:v>
                </c:pt>
                <c:pt idx="6">
                  <c:v>2.427</c:v>
                </c:pt>
                <c:pt idx="7">
                  <c:v>2.4902000000000002</c:v>
                </c:pt>
                <c:pt idx="8">
                  <c:v>3.5445000000000002</c:v>
                </c:pt>
              </c:numCache>
            </c:numRef>
          </c:xVal>
          <c:yVal>
            <c:numRef>
              <c:f>Sheet1!$B$2:$B$10</c:f>
              <c:numCache>
                <c:formatCode>General</c:formatCode>
                <c:ptCount val="9"/>
                <c:pt idx="0">
                  <c:v>0.84699999999999998</c:v>
                </c:pt>
                <c:pt idx="1">
                  <c:v>0.82699999999999996</c:v>
                </c:pt>
                <c:pt idx="2">
                  <c:v>1.127</c:v>
                </c:pt>
                <c:pt idx="3">
                  <c:v>1.1100000000000001</c:v>
                </c:pt>
                <c:pt idx="4">
                  <c:v>1.0529999999999999</c:v>
                </c:pt>
                <c:pt idx="5">
                  <c:v>1.1459999999999999</c:v>
                </c:pt>
                <c:pt idx="6">
                  <c:v>1.294</c:v>
                </c:pt>
                <c:pt idx="7">
                  <c:v>0.71</c:v>
                </c:pt>
                <c:pt idx="8">
                  <c:v>1.4690000000000001</c:v>
                </c:pt>
              </c:numCache>
            </c:numRef>
          </c:yVal>
          <c:bubbleSize>
            <c:numRef>
              <c:f>Sheet1!$C$2:$C$10</c:f>
              <c:numCache>
                <c:formatCode>General</c:formatCode>
                <c:ptCount val="9"/>
                <c:pt idx="0">
                  <c:v>623932113</c:v>
                </c:pt>
                <c:pt idx="1">
                  <c:v>74730598</c:v>
                </c:pt>
                <c:pt idx="2">
                  <c:v>60716546</c:v>
                </c:pt>
                <c:pt idx="3">
                  <c:v>54596188</c:v>
                </c:pt>
                <c:pt idx="4">
                  <c:v>49577769</c:v>
                </c:pt>
                <c:pt idx="5">
                  <c:v>47071227</c:v>
                </c:pt>
                <c:pt idx="6">
                  <c:v>41887150</c:v>
                </c:pt>
                <c:pt idx="7">
                  <c:v>38379421</c:v>
                </c:pt>
                <c:pt idx="8">
                  <c:v>3616245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Galbani</c:v>
                  </c:pt>
                  <c:pt idx="3">
                    <c:v>St Moret</c:v>
                  </c:pt>
                  <c:pt idx="4">
                    <c:v>Soignon</c:v>
                  </c:pt>
                  <c:pt idx="5">
                    <c:v>Caprice Des Dieux</c:v>
                  </c:pt>
                  <c:pt idx="6">
                    <c:v>Casa Azzurra</c:v>
                  </c:pt>
                  <c:pt idx="7">
                    <c:v>Coeur De Lion</c:v>
                  </c:pt>
                  <c:pt idx="8">
                    <c:v>Mini Baby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6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C953BC-9719-4FDD-8E85-B914685E2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7E776C-2F1D-40E6-9C81-4353C21658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A3FFA9-2D82-44AB-91E6-A2FD84C8D2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339522-42E6-4D53-B19C-AF3C8D3E5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749A330-5564-4569-8347-6D41E35859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5E83DC6-D98D-465B-9D20-51BF908751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A1B3460-4A02-434C-9B23-69612701CB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FEE5A7E-6135-4E20-9D57-1DD367E25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875999999999999</c:v>
                </c:pt>
                <c:pt idx="1">
                  <c:v>2.0409000000000002</c:v>
                </c:pt>
                <c:pt idx="2">
                  <c:v>4.2450000000000001</c:v>
                </c:pt>
                <c:pt idx="3">
                  <c:v>3.7193999999999998</c:v>
                </c:pt>
                <c:pt idx="4">
                  <c:v>2.7090000000000001</c:v>
                </c:pt>
              </c:numCache>
            </c:numRef>
          </c:xVal>
          <c:yVal>
            <c:numRef>
              <c:f>Sheet1!$B$2:$B$6</c:f>
              <c:numCache>
                <c:formatCode>General</c:formatCode>
                <c:ptCount val="5"/>
                <c:pt idx="0">
                  <c:v>0.84099999999999997</c:v>
                </c:pt>
                <c:pt idx="1">
                  <c:v>1.101</c:v>
                </c:pt>
                <c:pt idx="2">
                  <c:v>1.589</c:v>
                </c:pt>
                <c:pt idx="3">
                  <c:v>1.4470000000000001</c:v>
                </c:pt>
                <c:pt idx="4">
                  <c:v>1.462</c:v>
                </c:pt>
              </c:numCache>
            </c:numRef>
          </c:yVal>
          <c:bubbleSize>
            <c:numRef>
              <c:f>Sheet1!$C$2:$C$6</c:f>
              <c:numCache>
                <c:formatCode>General</c:formatCode>
                <c:ptCount val="5"/>
                <c:pt idx="0">
                  <c:v>3832147</c:v>
                </c:pt>
                <c:pt idx="1">
                  <c:v>2828625</c:v>
                </c:pt>
                <c:pt idx="2">
                  <c:v>442886</c:v>
                </c:pt>
                <c:pt idx="3">
                  <c:v>266365</c:v>
                </c:pt>
                <c:pt idx="4">
                  <c:v>173582</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Raguin</c:v>
                  </c:pt>
                  <c:pt idx="4">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8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75BAF8B-926B-4CD8-B0FD-98E9C41B6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AC0436E-D495-4FC7-9B3D-6D944806F3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C71C77-3E1B-49B9-A83E-7B60A6E384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5E8752-4AD4-4D35-A64F-881FF579E1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80D6B3D-3416-4C5A-8B92-49E8AB93B1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5E6DDF8-7BC0-4E03-8C0C-C819AE4C83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95FC6A8-19FE-49E6-9FE7-6C97F4099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235CE32-34AA-4918-BB16-00BF6437D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875999999999999</c:v>
                </c:pt>
                <c:pt idx="1">
                  <c:v>2.0409000000000002</c:v>
                </c:pt>
                <c:pt idx="2">
                  <c:v>4.2469999999999999</c:v>
                </c:pt>
                <c:pt idx="3">
                  <c:v>3.7195999999999998</c:v>
                </c:pt>
                <c:pt idx="4">
                  <c:v>2.7090000000000001</c:v>
                </c:pt>
              </c:numCache>
            </c:numRef>
          </c:xVal>
          <c:yVal>
            <c:numRef>
              <c:f>Sheet1!$B$2:$B$6</c:f>
              <c:numCache>
                <c:formatCode>General</c:formatCode>
                <c:ptCount val="5"/>
                <c:pt idx="0">
                  <c:v>0.84099999999999997</c:v>
                </c:pt>
                <c:pt idx="1">
                  <c:v>1.101</c:v>
                </c:pt>
                <c:pt idx="2">
                  <c:v>1.595</c:v>
                </c:pt>
                <c:pt idx="3">
                  <c:v>1.454</c:v>
                </c:pt>
                <c:pt idx="4">
                  <c:v>1.4630000000000001</c:v>
                </c:pt>
              </c:numCache>
            </c:numRef>
          </c:yVal>
          <c:bubbleSize>
            <c:numRef>
              <c:f>Sheet1!$C$2:$C$6</c:f>
              <c:numCache>
                <c:formatCode>General</c:formatCode>
                <c:ptCount val="5"/>
                <c:pt idx="0">
                  <c:v>3832081</c:v>
                </c:pt>
                <c:pt idx="1">
                  <c:v>2828611</c:v>
                </c:pt>
                <c:pt idx="2">
                  <c:v>442466</c:v>
                </c:pt>
                <c:pt idx="3">
                  <c:v>265726</c:v>
                </c:pt>
                <c:pt idx="4">
                  <c:v>173579</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Raguin</c:v>
                  </c:pt>
                  <c:pt idx="4">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9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BE2755-66B3-4664-A33E-E9BBD47084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FA58898-0CC2-47BA-BD26-36237A5AD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8374AE1-EAC9-436D-B1F3-1B1A51761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3B0553-4A56-45A1-8C3B-AA3AF0F7AD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7C07D53-A342-4BA7-BB12-2ADB96137C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7494E1-5766-4BB8-8808-F6BB544CF8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00B6F32-F2BA-4491-A595-54DDAC5DE5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E51ADD2-E8B4-4AD6-87F9-CB5D22EC34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5445000000000002</c:v>
                </c:pt>
                <c:pt idx="1">
                  <c:v>3.2810999999999999</c:v>
                </c:pt>
                <c:pt idx="2">
                  <c:v>2.9834999999999998</c:v>
                </c:pt>
                <c:pt idx="3">
                  <c:v>2.2189999999999999</c:v>
                </c:pt>
                <c:pt idx="4">
                  <c:v>2.7052999999999998</c:v>
                </c:pt>
                <c:pt idx="5">
                  <c:v>3.2698999999999998</c:v>
                </c:pt>
              </c:numCache>
            </c:numRef>
          </c:xVal>
          <c:yVal>
            <c:numRef>
              <c:f>Sheet1!$B$2:$B$7</c:f>
              <c:numCache>
                <c:formatCode>General</c:formatCode>
                <c:ptCount val="6"/>
                <c:pt idx="0">
                  <c:v>1.419</c:v>
                </c:pt>
                <c:pt idx="1">
                  <c:v>0.873</c:v>
                </c:pt>
                <c:pt idx="2">
                  <c:v>1.0669999999999999</c:v>
                </c:pt>
                <c:pt idx="3">
                  <c:v>0.624</c:v>
                </c:pt>
                <c:pt idx="4">
                  <c:v>1.8620000000000001</c:v>
                </c:pt>
                <c:pt idx="5">
                  <c:v>1.425</c:v>
                </c:pt>
              </c:numCache>
            </c:numRef>
          </c:yVal>
          <c:bubbleSize>
            <c:numRef>
              <c:f>Sheet1!$C$2:$C$7</c:f>
              <c:numCache>
                <c:formatCode>General</c:formatCode>
                <c:ptCount val="6"/>
                <c:pt idx="0">
                  <c:v>36162450</c:v>
                </c:pt>
                <c:pt idx="1">
                  <c:v>35786112</c:v>
                </c:pt>
                <c:pt idx="2">
                  <c:v>28035107</c:v>
                </c:pt>
                <c:pt idx="3">
                  <c:v>22083602</c:v>
                </c:pt>
                <c:pt idx="4">
                  <c:v>11823541</c:v>
                </c:pt>
                <c:pt idx="5">
                  <c:v>2634301</c:v>
                </c:pt>
              </c:numCache>
            </c:numRef>
          </c:bubbleSize>
          <c:bubble3D val="0"/>
          <c:extLst>
            <c:ext xmlns:c15="http://schemas.microsoft.com/office/drawing/2012/chart" uri="{02D57815-91ED-43cb-92C2-25804820EDAC}">
              <c15:datalabelsRange>
                <c15:f>Sheet1!$E$2:$E$10</c15:f>
                <c15:dlblRangeCache>
                  <c:ptCount val="9"/>
                  <c:pt idx="0">
                    <c:v>Mini Babybel</c:v>
                  </c:pt>
                  <c:pt idx="1">
                    <c:v>La Vache Qui Rit</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2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8DBBFD1-F73E-426E-9DC0-85BA23957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7FBB03D-F80D-4C46-9F88-EBEA64FE8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476AD6-0DD0-4C7B-9E7B-22B2D2154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61A1337-B47A-48B8-874E-AB46394E3B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7BA407D-2300-4708-9681-832BD190B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9BBAB44-31D4-40F2-B621-004B57DBEE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289D941-66B8-4C38-8D53-E6FFFB48FF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CB42374-E082-430F-8F84-74F62D8AE3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258</c:v>
                </c:pt>
                <c:pt idx="1">
                  <c:v>3.7176999999999998</c:v>
                </c:pt>
                <c:pt idx="2">
                  <c:v>2.9481000000000002</c:v>
                </c:pt>
                <c:pt idx="3">
                  <c:v>2.2936000000000001</c:v>
                </c:pt>
                <c:pt idx="4">
                  <c:v>2.7347999999999999</c:v>
                </c:pt>
                <c:pt idx="5">
                  <c:v>3.0028000000000001</c:v>
                </c:pt>
              </c:numCache>
            </c:numRef>
          </c:xVal>
          <c:yVal>
            <c:numRef>
              <c:f>Sheet1!$B$2:$B$7</c:f>
              <c:numCache>
                <c:formatCode>General</c:formatCode>
                <c:ptCount val="6"/>
                <c:pt idx="0">
                  <c:v>0.81299999999999994</c:v>
                </c:pt>
                <c:pt idx="1">
                  <c:v>1.339</c:v>
                </c:pt>
                <c:pt idx="2">
                  <c:v>0.98</c:v>
                </c:pt>
                <c:pt idx="3">
                  <c:v>0.67</c:v>
                </c:pt>
                <c:pt idx="4">
                  <c:v>1.853</c:v>
                </c:pt>
                <c:pt idx="5">
                  <c:v>1.5209999999999999</c:v>
                </c:pt>
              </c:numCache>
            </c:numRef>
          </c:yVal>
          <c:bubbleSize>
            <c:numRef>
              <c:f>Sheet1!$C$2:$C$7</c:f>
              <c:numCache>
                <c:formatCode>General</c:formatCode>
                <c:ptCount val="6"/>
                <c:pt idx="0">
                  <c:v>6741110</c:v>
                </c:pt>
                <c:pt idx="1">
                  <c:v>6669457</c:v>
                </c:pt>
                <c:pt idx="2">
                  <c:v>5524817</c:v>
                </c:pt>
                <c:pt idx="3">
                  <c:v>2504979</c:v>
                </c:pt>
                <c:pt idx="4">
                  <c:v>2314948</c:v>
                </c:pt>
                <c:pt idx="5">
                  <c:v>426610</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5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867231-89A8-4D74-9D8D-E119F7E45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8930BF0-D747-4D02-A1FE-52C72690CB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F47A416-46F5-4D08-B537-8F951F87C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075EF60-427C-4AC7-8E34-BA099E50E0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2D1DBAD-190F-4CC4-8747-E97C88F6B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26CC886-DA28-480C-B44B-39A4BD69A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527EB10-624A-4FA9-BE3A-B02D3DEC8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D21F129-23E1-432D-969C-EBF376FA39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4443000000000001</c:v>
                </c:pt>
                <c:pt idx="1">
                  <c:v>3.3622999999999998</c:v>
                </c:pt>
                <c:pt idx="2">
                  <c:v>3.0697000000000001</c:v>
                </c:pt>
                <c:pt idx="3">
                  <c:v>2.0539000000000001</c:v>
                </c:pt>
                <c:pt idx="4">
                  <c:v>2.6819999999999999</c:v>
                </c:pt>
                <c:pt idx="5">
                  <c:v>3.7010999999999998</c:v>
                </c:pt>
              </c:numCache>
            </c:numRef>
          </c:xVal>
          <c:yVal>
            <c:numRef>
              <c:f>Sheet1!$B$2:$B$7</c:f>
              <c:numCache>
                <c:formatCode>General</c:formatCode>
                <c:ptCount val="6"/>
                <c:pt idx="0">
                  <c:v>0.88</c:v>
                </c:pt>
                <c:pt idx="1">
                  <c:v>1.3660000000000001</c:v>
                </c:pt>
                <c:pt idx="2">
                  <c:v>1.0269999999999999</c:v>
                </c:pt>
                <c:pt idx="3">
                  <c:v>0.629</c:v>
                </c:pt>
                <c:pt idx="4">
                  <c:v>1.804</c:v>
                </c:pt>
                <c:pt idx="5">
                  <c:v>1.266</c:v>
                </c:pt>
              </c:numCache>
            </c:numRef>
          </c:yVal>
          <c:bubbleSize>
            <c:numRef>
              <c:f>Sheet1!$C$2:$C$7</c:f>
              <c:numCache>
                <c:formatCode>General</c:formatCode>
                <c:ptCount val="6"/>
                <c:pt idx="0">
                  <c:v>5658598</c:v>
                </c:pt>
                <c:pt idx="1">
                  <c:v>4713246</c:v>
                </c:pt>
                <c:pt idx="2">
                  <c:v>4572915</c:v>
                </c:pt>
                <c:pt idx="3">
                  <c:v>2456999</c:v>
                </c:pt>
                <c:pt idx="4">
                  <c:v>1686737</c:v>
                </c:pt>
                <c:pt idx="5">
                  <c:v>437701</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DF01BCC-422F-4591-B27A-09F85A96DF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72A76FE-9688-46BC-A6ED-DA29F4D8F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E220709-082E-4545-87A8-94B0040058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4B7D8C7-FD1C-4C21-B110-5459BF0C1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911867-34DE-463B-A50F-24253DA0F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7E3C3FB-A515-4CFF-B521-DBFD7DAB32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6B8975D-7FA0-49B2-B417-B7E53288F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AC8F031-F403-44A9-ACFB-58CBD255A6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119999999999999</c:v>
                </c:pt>
                <c:pt idx="1">
                  <c:v>1.4815</c:v>
                </c:pt>
                <c:pt idx="2">
                  <c:v>2.4422000000000001</c:v>
                </c:pt>
                <c:pt idx="3">
                  <c:v>2.2902</c:v>
                </c:pt>
                <c:pt idx="4">
                  <c:v>2.4300000000000002</c:v>
                </c:pt>
                <c:pt idx="5">
                  <c:v>2.4110999999999998</c:v>
                </c:pt>
                <c:pt idx="6">
                  <c:v>2.6006</c:v>
                </c:pt>
                <c:pt idx="7">
                  <c:v>1.6876</c:v>
                </c:pt>
              </c:numCache>
            </c:numRef>
          </c:xVal>
          <c:yVal>
            <c:numRef>
              <c:f>Sheet1!$B$2:$B$9</c:f>
              <c:numCache>
                <c:formatCode>General</c:formatCode>
                <c:ptCount val="8"/>
                <c:pt idx="0">
                  <c:v>1.1379999999999999</c:v>
                </c:pt>
                <c:pt idx="1">
                  <c:v>0.68100000000000005</c:v>
                </c:pt>
                <c:pt idx="2">
                  <c:v>1.024</c:v>
                </c:pt>
                <c:pt idx="3">
                  <c:v>1.1160000000000001</c:v>
                </c:pt>
                <c:pt idx="4">
                  <c:v>1.3640000000000001</c:v>
                </c:pt>
                <c:pt idx="5">
                  <c:v>1.085</c:v>
                </c:pt>
                <c:pt idx="6">
                  <c:v>1.0740000000000001</c:v>
                </c:pt>
                <c:pt idx="7">
                  <c:v>1.1719999999999999</c:v>
                </c:pt>
              </c:numCache>
            </c:numRef>
          </c:yVal>
          <c:bubbleSize>
            <c:numRef>
              <c:f>Sheet1!$C$2:$C$9</c:f>
              <c:numCache>
                <c:formatCode>General</c:formatCode>
                <c:ptCount val="8"/>
                <c:pt idx="0">
                  <c:v>51751764</c:v>
                </c:pt>
                <c:pt idx="1">
                  <c:v>33615603</c:v>
                </c:pt>
                <c:pt idx="2">
                  <c:v>26453904</c:v>
                </c:pt>
                <c:pt idx="3">
                  <c:v>18616048</c:v>
                </c:pt>
                <c:pt idx="4">
                  <c:v>16298170</c:v>
                </c:pt>
                <c:pt idx="5">
                  <c:v>11587098</c:v>
                </c:pt>
                <c:pt idx="6">
                  <c:v>7736534</c:v>
                </c:pt>
                <c:pt idx="7">
                  <c:v>2769440</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Philadelphia</c:v>
                  </c:pt>
                  <c:pt idx="7">
                    <c:v>Ronde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4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210BD7-129D-4F21-90BB-2A268F8263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F93C6A9-7B2E-4BD0-884C-30246D52F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E9B5314-9FD6-42A7-9F99-BEE612364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420B5E2-6114-4E34-A1C3-BC68A807F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DB5F850-3736-499A-ADCD-7E0EDDCD1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83AB13E-9EE5-4806-A31F-CF58521D49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059465-F3B7-4C8D-B502-A7A8360783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CEA3E36-009F-45F8-A50A-C1EB4D775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3.0028999999999999</c:v>
                </c:pt>
                <c:pt idx="1">
                  <c:v>2.4232</c:v>
                </c:pt>
                <c:pt idx="2">
                  <c:v>1.6344000000000001</c:v>
                </c:pt>
                <c:pt idx="3">
                  <c:v>2.3706</c:v>
                </c:pt>
                <c:pt idx="4">
                  <c:v>2.4558</c:v>
                </c:pt>
                <c:pt idx="5">
                  <c:v>2.4186999999999999</c:v>
                </c:pt>
                <c:pt idx="6">
                  <c:v>2.6836000000000002</c:v>
                </c:pt>
                <c:pt idx="7">
                  <c:v>1.7345999999999999</c:v>
                </c:pt>
                <c:pt idx="8">
                  <c:v>2.6312000000000002</c:v>
                </c:pt>
              </c:numCache>
            </c:numRef>
          </c:xVal>
          <c:yVal>
            <c:numRef>
              <c:f>Sheet1!$B$2:$B$10</c:f>
              <c:numCache>
                <c:formatCode>General</c:formatCode>
                <c:ptCount val="9"/>
                <c:pt idx="0">
                  <c:v>1.1180000000000001</c:v>
                </c:pt>
                <c:pt idx="1">
                  <c:v>0.95799999999999996</c:v>
                </c:pt>
                <c:pt idx="2">
                  <c:v>0.69299999999999995</c:v>
                </c:pt>
                <c:pt idx="3">
                  <c:v>1.0740000000000001</c:v>
                </c:pt>
                <c:pt idx="4">
                  <c:v>1.3029999999999999</c:v>
                </c:pt>
                <c:pt idx="5">
                  <c:v>1.006</c:v>
                </c:pt>
                <c:pt idx="6">
                  <c:v>1.0009999999999999</c:v>
                </c:pt>
                <c:pt idx="7">
                  <c:v>1.1559999999999999</c:v>
                </c:pt>
                <c:pt idx="8">
                  <c:v>1.4079999999999999</c:v>
                </c:pt>
              </c:numCache>
            </c:numRef>
          </c:yVal>
          <c:bubbleSize>
            <c:numRef>
              <c:f>Sheet1!$C$2:$C$10</c:f>
              <c:numCache>
                <c:formatCode>General</c:formatCode>
                <c:ptCount val="9"/>
                <c:pt idx="0">
                  <c:v>8811592</c:v>
                </c:pt>
                <c:pt idx="1">
                  <c:v>4758479</c:v>
                </c:pt>
                <c:pt idx="2">
                  <c:v>3845963</c:v>
                </c:pt>
                <c:pt idx="3">
                  <c:v>3148857</c:v>
                </c:pt>
                <c:pt idx="4">
                  <c:v>3035900</c:v>
                </c:pt>
                <c:pt idx="5">
                  <c:v>2202030</c:v>
                </c:pt>
                <c:pt idx="6">
                  <c:v>2100704</c:v>
                </c:pt>
                <c:pt idx="7">
                  <c:v>434592</c:v>
                </c:pt>
                <c:pt idx="8">
                  <c:v>306866</c:v>
                </c:pt>
              </c:numCache>
            </c:numRef>
          </c:bubbleSize>
          <c:bubble3D val="0"/>
          <c:extLst>
            <c:ext xmlns:c15="http://schemas.microsoft.com/office/drawing/2012/chart" uri="{02D57815-91ED-43cb-92C2-25804820EDAC}">
              <c15:datalabelsRange>
                <c15:f>Sheet1!$E$2:$E$10</c15:f>
                <c15:dlblRangeCache>
                  <c:ptCount val="9"/>
                  <c:pt idx="0">
                    <c:v>St Moret</c:v>
                  </c:pt>
                  <c:pt idx="1">
                    <c:v>Paysan Breton</c:v>
                  </c:pt>
                  <c:pt idx="2">
                    <c:v>Private Label</c:v>
                  </c:pt>
                  <c:pt idx="3">
                    <c:v>Tartare</c:v>
                  </c:pt>
                  <c:pt idx="4">
                    <c:v>Boursin</c:v>
                  </c:pt>
                  <c:pt idx="5">
                    <c:v>Carre Frais</c:v>
                  </c:pt>
                  <c:pt idx="6">
                    <c:v>Philadelphia</c:v>
                  </c:pt>
                  <c:pt idx="7">
                    <c:v>Rondele</c:v>
                  </c:pt>
                  <c:pt idx="8">
                    <c:v>Ki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E4A977-FE72-4FBD-BDC4-D195962FF7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3AE742-5096-4CE2-BAA3-9E6605CA2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AAE28E8-A9CE-4F41-8DF4-9E4D51C6F3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CC7D72-7C72-425A-986E-488F649182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0B62519-FF9B-4F59-9EA1-CFDD4CEEF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02899FE-B418-421A-8FC0-568D558804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F60BB25-D23E-42FE-8A36-995DFED942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5FB8B5E-B02A-4F6A-A502-0F181ECB2C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9885999999999999</c:v>
                </c:pt>
                <c:pt idx="1">
                  <c:v>1.3731</c:v>
                </c:pt>
                <c:pt idx="2">
                  <c:v>2.4413999999999998</c:v>
                </c:pt>
                <c:pt idx="3">
                  <c:v>2.536</c:v>
                </c:pt>
                <c:pt idx="4">
                  <c:v>2.3258999999999999</c:v>
                </c:pt>
                <c:pt idx="5">
                  <c:v>2.4405000000000001</c:v>
                </c:pt>
                <c:pt idx="6">
                  <c:v>2.4830000000000001</c:v>
                </c:pt>
              </c:numCache>
            </c:numRef>
          </c:xVal>
          <c:yVal>
            <c:numRef>
              <c:f>Sheet1!$B$2:$B$8</c:f>
              <c:numCache>
                <c:formatCode>General</c:formatCode>
                <c:ptCount val="7"/>
                <c:pt idx="0">
                  <c:v>1.0760000000000001</c:v>
                </c:pt>
                <c:pt idx="1">
                  <c:v>0.67600000000000005</c:v>
                </c:pt>
                <c:pt idx="2">
                  <c:v>0.96299999999999997</c:v>
                </c:pt>
                <c:pt idx="3">
                  <c:v>1.319</c:v>
                </c:pt>
                <c:pt idx="4">
                  <c:v>1.081</c:v>
                </c:pt>
                <c:pt idx="5">
                  <c:v>1.038</c:v>
                </c:pt>
                <c:pt idx="6">
                  <c:v>0.98599999999999999</c:v>
                </c:pt>
              </c:numCache>
            </c:numRef>
          </c:yVal>
          <c:bubbleSize>
            <c:numRef>
              <c:f>Sheet1!$C$2:$C$8</c:f>
              <c:numCache>
                <c:formatCode>General</c:formatCode>
                <c:ptCount val="7"/>
                <c:pt idx="0">
                  <c:v>8620814</c:v>
                </c:pt>
                <c:pt idx="1">
                  <c:v>3677885</c:v>
                </c:pt>
                <c:pt idx="2">
                  <c:v>3671057</c:v>
                </c:pt>
                <c:pt idx="3">
                  <c:v>3468819</c:v>
                </c:pt>
                <c:pt idx="4">
                  <c:v>2960143</c:v>
                </c:pt>
                <c:pt idx="5">
                  <c:v>1853432</c:v>
                </c:pt>
                <c:pt idx="6">
                  <c:v>911380</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Boursin</c:v>
                  </c:pt>
                  <c:pt idx="4">
                    <c:v>Tartare</c:v>
                  </c:pt>
                  <c:pt idx="5">
                    <c:v>Carre Frais</c:v>
                  </c:pt>
                  <c:pt idx="6">
                    <c:v>Philadelph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9644F56-8C65-4AA9-A080-C558C6D35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A2F0A3-B575-41FA-8DFB-82CA3CA67F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7A69323-AE7C-41E1-8400-237D69C87D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EBDFF3-A9B9-40C4-A8A1-30ECD3FAA3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45381FE-4986-42D1-A54B-83A6D8F0CC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0EAD7B4-2420-4E89-ADA7-E7D015E66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B8A4F9F-A41A-48CE-9FF2-B788687878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A86C5DA-C4E2-48AD-96F1-8C4A4495C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581999999999999</c:v>
                </c:pt>
                <c:pt idx="1">
                  <c:v>2.3494999999999999</c:v>
                </c:pt>
                <c:pt idx="2">
                  <c:v>2.4449999999999998</c:v>
                </c:pt>
                <c:pt idx="3">
                  <c:v>2.9683000000000002</c:v>
                </c:pt>
                <c:pt idx="4">
                  <c:v>2.7303999999999999</c:v>
                </c:pt>
                <c:pt idx="5">
                  <c:v>2.2523</c:v>
                </c:pt>
              </c:numCache>
            </c:numRef>
          </c:xVal>
          <c:yVal>
            <c:numRef>
              <c:f>Sheet1!$B$2:$B$7</c:f>
              <c:numCache>
                <c:formatCode>General</c:formatCode>
                <c:ptCount val="6"/>
                <c:pt idx="0">
                  <c:v>0.89300000000000002</c:v>
                </c:pt>
                <c:pt idx="1">
                  <c:v>1.0309999999999999</c:v>
                </c:pt>
                <c:pt idx="2">
                  <c:v>1.1739999999999999</c:v>
                </c:pt>
                <c:pt idx="3">
                  <c:v>1.04</c:v>
                </c:pt>
                <c:pt idx="4">
                  <c:v>1.427</c:v>
                </c:pt>
                <c:pt idx="5">
                  <c:v>1.472</c:v>
                </c:pt>
              </c:numCache>
            </c:numRef>
          </c:yVal>
          <c:bubbleSize>
            <c:numRef>
              <c:f>Sheet1!$C$2:$C$7</c:f>
              <c:numCache>
                <c:formatCode>General</c:formatCode>
                <c:ptCount val="6"/>
                <c:pt idx="0">
                  <c:v>254514232</c:v>
                </c:pt>
                <c:pt idx="1">
                  <c:v>58401643</c:v>
                </c:pt>
                <c:pt idx="2">
                  <c:v>40044170</c:v>
                </c:pt>
                <c:pt idx="3">
                  <c:v>31611113</c:v>
                </c:pt>
                <c:pt idx="4">
                  <c:v>9755821</c:v>
                </c:pt>
                <c:pt idx="5">
                  <c:v>471812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7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F8BC26-A70F-4CFE-BB8D-211759E4FE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92F064D-865D-44BE-9894-445C1A4D2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D91F83-4A48-4F76-9B61-0D22A443ED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3E05B45-3C2C-4B45-94DB-9FE0B742E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26475D-2802-4A0E-A19E-7A269517F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D3A7D4-ACCB-417B-B7F3-A5A465C371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EB9429F-E7DE-4F3E-B3A1-4E61792589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2AE7541-90A9-4A5A-AE73-17EB7DAF6F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492</c:v>
                </c:pt>
                <c:pt idx="1">
                  <c:v>2.3096999999999999</c:v>
                </c:pt>
                <c:pt idx="2">
                  <c:v>2.6053999999999999</c:v>
                </c:pt>
                <c:pt idx="3">
                  <c:v>3.0032999999999999</c:v>
                </c:pt>
                <c:pt idx="4">
                  <c:v>2.6737000000000002</c:v>
                </c:pt>
                <c:pt idx="5">
                  <c:v>2.1617000000000002</c:v>
                </c:pt>
              </c:numCache>
            </c:numRef>
          </c:xVal>
          <c:yVal>
            <c:numRef>
              <c:f>Sheet1!$B$2:$B$7</c:f>
              <c:numCache>
                <c:formatCode>General</c:formatCode>
                <c:ptCount val="6"/>
                <c:pt idx="0">
                  <c:v>0.89800000000000002</c:v>
                </c:pt>
                <c:pt idx="1">
                  <c:v>0.96599999999999997</c:v>
                </c:pt>
                <c:pt idx="2">
                  <c:v>1.1839999999999999</c:v>
                </c:pt>
                <c:pt idx="3">
                  <c:v>0.96899999999999997</c:v>
                </c:pt>
                <c:pt idx="4">
                  <c:v>1.29</c:v>
                </c:pt>
                <c:pt idx="5">
                  <c:v>1.304</c:v>
                </c:pt>
              </c:numCache>
            </c:numRef>
          </c:yVal>
          <c:bubbleSize>
            <c:numRef>
              <c:f>Sheet1!$C$2:$C$7</c:f>
              <c:numCache>
                <c:formatCode>General</c:formatCode>
                <c:ptCount val="6"/>
                <c:pt idx="0">
                  <c:v>41826347</c:v>
                </c:pt>
                <c:pt idx="1">
                  <c:v>8667322</c:v>
                </c:pt>
                <c:pt idx="2">
                  <c:v>7504143</c:v>
                </c:pt>
                <c:pt idx="3">
                  <c:v>5982438</c:v>
                </c:pt>
                <c:pt idx="4">
                  <c:v>1935509</c:v>
                </c:pt>
                <c:pt idx="5">
                  <c:v>1289340</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788E2B6-4F67-40E1-81B4-46E5ACC58E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3BBBC5-7326-4EC6-90F0-6539107ECA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E636AE9-8D32-42BD-A0B6-EE100F4C2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B6C9F9F-CC53-4B3D-A75E-4E4A31264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63CE1E-2653-44CF-9A3C-79AE7FD450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C026427-ED91-40CF-AE1C-837DFD2A07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AF59845-AE2C-4C38-8C9B-3FB6C24DD7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82CAAF5-8281-461F-AF3B-FD21C52F5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1996000000000002</c:v>
                </c:pt>
                <c:pt idx="1">
                  <c:v>2.4110999999999998</c:v>
                </c:pt>
                <c:pt idx="2">
                  <c:v>2.9895</c:v>
                </c:pt>
                <c:pt idx="3">
                  <c:v>2.3096999999999999</c:v>
                </c:pt>
                <c:pt idx="4">
                  <c:v>2.8786</c:v>
                </c:pt>
                <c:pt idx="5">
                  <c:v>3.3563000000000001</c:v>
                </c:pt>
                <c:pt idx="6">
                  <c:v>2.6053999999999999</c:v>
                </c:pt>
                <c:pt idx="7">
                  <c:v>2.4415</c:v>
                </c:pt>
                <c:pt idx="8">
                  <c:v>3.2258</c:v>
                </c:pt>
              </c:numCache>
            </c:numRef>
          </c:xVal>
          <c:yVal>
            <c:numRef>
              <c:f>Sheet1!$B$2:$B$10</c:f>
              <c:numCache>
                <c:formatCode>General</c:formatCode>
                <c:ptCount val="9"/>
                <c:pt idx="0">
                  <c:v>0.86899999999999999</c:v>
                </c:pt>
                <c:pt idx="1">
                  <c:v>0.747</c:v>
                </c:pt>
                <c:pt idx="2">
                  <c:v>1.079</c:v>
                </c:pt>
                <c:pt idx="3">
                  <c:v>1.0529999999999999</c:v>
                </c:pt>
                <c:pt idx="4">
                  <c:v>1.0029999999999999</c:v>
                </c:pt>
                <c:pt idx="5">
                  <c:v>1.1200000000000001</c:v>
                </c:pt>
                <c:pt idx="6">
                  <c:v>1.29</c:v>
                </c:pt>
                <c:pt idx="7">
                  <c:v>0.65600000000000003</c:v>
                </c:pt>
                <c:pt idx="8">
                  <c:v>0.80500000000000005</c:v>
                </c:pt>
              </c:numCache>
            </c:numRef>
          </c:yVal>
          <c:bubbleSize>
            <c:numRef>
              <c:f>Sheet1!$C$2:$C$10</c:f>
              <c:numCache>
                <c:formatCode>General</c:formatCode>
                <c:ptCount val="9"/>
                <c:pt idx="0">
                  <c:v>78402914</c:v>
                </c:pt>
                <c:pt idx="1">
                  <c:v>9302551</c:v>
                </c:pt>
                <c:pt idx="2">
                  <c:v>9161063</c:v>
                </c:pt>
                <c:pt idx="3">
                  <c:v>8667367</c:v>
                </c:pt>
                <c:pt idx="4">
                  <c:v>8594536</c:v>
                </c:pt>
                <c:pt idx="5">
                  <c:v>8328333</c:v>
                </c:pt>
                <c:pt idx="6">
                  <c:v>7504143</c:v>
                </c:pt>
                <c:pt idx="7">
                  <c:v>6782881</c:v>
                </c:pt>
                <c:pt idx="8">
                  <c:v>6741136</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t Moret</c:v>
                  </c:pt>
                  <c:pt idx="3">
                    <c:v>Galbani</c:v>
                  </c:pt>
                  <c:pt idx="4">
                    <c:v>Soignon</c:v>
                  </c:pt>
                  <c:pt idx="5">
                    <c:v>Caprice Des Dieux</c:v>
                  </c:pt>
                  <c:pt idx="6">
                    <c:v>Casa Azzurra</c:v>
                  </c:pt>
                  <c:pt idx="7">
                    <c:v>Coeur De Lion</c:v>
                  </c:pt>
                  <c:pt idx="8">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ED2182-AD88-414D-8D70-ADB5BBC3D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883F2BA-0AC9-4319-87A9-914789AC3D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C8140AD-960E-4055-A992-E9FB66D5B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06DBF5-E5CC-47A5-98D7-B963BDFAF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575224A-1678-4F4E-A67B-181730FC9E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3555F7-ADBC-4641-B6EF-85A43939A4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FF0A2F1-5444-4875-8C09-D77548E28D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CCC82DE-19FC-48B3-B490-21F0A854D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205000000000001</c:v>
                </c:pt>
                <c:pt idx="1">
                  <c:v>2.4689000000000001</c:v>
                </c:pt>
                <c:pt idx="2">
                  <c:v>2.9990000000000001</c:v>
                </c:pt>
                <c:pt idx="3">
                  <c:v>2.4729000000000001</c:v>
                </c:pt>
                <c:pt idx="4">
                  <c:v>2.9125000000000001</c:v>
                </c:pt>
                <c:pt idx="5">
                  <c:v>2.4173</c:v>
                </c:pt>
              </c:numCache>
            </c:numRef>
          </c:xVal>
          <c:yVal>
            <c:numRef>
              <c:f>Sheet1!$B$2:$B$7</c:f>
              <c:numCache>
                <c:formatCode>General</c:formatCode>
                <c:ptCount val="6"/>
                <c:pt idx="0">
                  <c:v>0.86799999999999999</c:v>
                </c:pt>
                <c:pt idx="1">
                  <c:v>1.0820000000000001</c:v>
                </c:pt>
                <c:pt idx="2">
                  <c:v>1.048</c:v>
                </c:pt>
                <c:pt idx="3">
                  <c:v>1.2310000000000001</c:v>
                </c:pt>
                <c:pt idx="4">
                  <c:v>1.5529999999999999</c:v>
                </c:pt>
                <c:pt idx="5">
                  <c:v>1.615</c:v>
                </c:pt>
              </c:numCache>
            </c:numRef>
          </c:yVal>
          <c:bubbleSize>
            <c:numRef>
              <c:f>Sheet1!$C$2:$C$7</c:f>
              <c:numCache>
                <c:formatCode>General</c:formatCode>
                <c:ptCount val="6"/>
                <c:pt idx="0">
                  <c:v>28870053</c:v>
                </c:pt>
                <c:pt idx="1">
                  <c:v>11602323</c:v>
                </c:pt>
                <c:pt idx="2">
                  <c:v>5268160</c:v>
                </c:pt>
                <c:pt idx="3">
                  <c:v>3859441</c:v>
                </c:pt>
                <c:pt idx="4">
                  <c:v>1520505</c:v>
                </c:pt>
                <c:pt idx="5">
                  <c:v>772136</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Salakis</c:v>
                  </c:pt>
                  <c:pt idx="3">
                    <c:v>Casa Azzurra</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1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All Others</c:v>
                </c:pt>
                <c:pt idx="2">
                  <c:v>President</c:v>
                </c:pt>
                <c:pt idx="3">
                  <c:v>Galbani</c:v>
                </c:pt>
                <c:pt idx="4">
                  <c:v>Soignon</c:v>
                </c:pt>
                <c:pt idx="5">
                  <c:v>Caprice Des Dieux</c:v>
                </c:pt>
                <c:pt idx="6">
                  <c:v>Casa Azzurra</c:v>
                </c:pt>
                <c:pt idx="7">
                  <c:v>Coeur De Lion</c:v>
                </c:pt>
              </c:strCache>
            </c:strRef>
          </c:cat>
          <c:val>
            <c:numRef>
              <c:f>Sheet1!$B$2:$B$9</c:f>
              <c:numCache>
                <c:formatCode>General</c:formatCode>
                <c:ptCount val="8"/>
                <c:pt idx="0">
                  <c:v>1.3587</c:v>
                </c:pt>
                <c:pt idx="3">
                  <c:v>1.6195999999999999</c:v>
                </c:pt>
                <c:pt idx="6">
                  <c:v>1.8734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Galbani</c:v>
                </c:pt>
                <c:pt idx="4">
                  <c:v>Soignon</c:v>
                </c:pt>
                <c:pt idx="5">
                  <c:v>Caprice Des Dieux</c:v>
                </c:pt>
                <c:pt idx="6">
                  <c:v>Casa Azzurra</c:v>
                </c:pt>
                <c:pt idx="7">
                  <c:v>Coeur De Lion</c:v>
                </c:pt>
              </c:strCache>
            </c:strRef>
          </c:cat>
          <c:val>
            <c:numRef>
              <c:f>Sheet1!$C$2:$C$9</c:f>
              <c:numCache>
                <c:formatCode>General</c:formatCode>
                <c:ptCount val="8"/>
                <c:pt idx="0">
                  <c:v>1.8246</c:v>
                </c:pt>
                <c:pt idx="3">
                  <c:v>3.0133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Galbani</c:v>
                </c:pt>
                <c:pt idx="4">
                  <c:v>Soignon</c:v>
                </c:pt>
                <c:pt idx="5">
                  <c:v>Caprice Des Dieux</c:v>
                </c:pt>
                <c:pt idx="6">
                  <c:v>Casa Azzurra</c:v>
                </c:pt>
                <c:pt idx="7">
                  <c:v>Coeur De Lion</c:v>
                </c:pt>
              </c:strCache>
            </c:strRef>
          </c:cat>
          <c:val>
            <c:numRef>
              <c:f>Sheet1!$D$2:$D$9</c:f>
              <c:numCache>
                <c:formatCode>General</c:formatCode>
                <c:ptCount val="8"/>
                <c:pt idx="0">
                  <c:v>2.09189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Galbani</c:v>
                </c:pt>
                <c:pt idx="4">
                  <c:v>Soignon</c:v>
                </c:pt>
                <c:pt idx="5">
                  <c:v>Caprice Des Dieux</c:v>
                </c:pt>
                <c:pt idx="6">
                  <c:v>Casa Azzurra</c:v>
                </c:pt>
                <c:pt idx="7">
                  <c:v>Coeur De Lion</c:v>
                </c:pt>
              </c:strCache>
            </c:strRef>
          </c:cat>
          <c:val>
            <c:numRef>
              <c:f>Sheet1!$E$2:$E$9</c:f>
              <c:numCache>
                <c:formatCode>General</c:formatCode>
                <c:ptCount val="8"/>
                <c:pt idx="0">
                  <c:v>2.3222999999999998</c:v>
                </c:pt>
                <c:pt idx="1">
                  <c:v>3.7250999999999999</c:v>
                </c:pt>
                <c:pt idx="4">
                  <c:v>2.2940999999999998</c:v>
                </c:pt>
                <c:pt idx="5">
                  <c:v>3.14020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Galbani</c:v>
                </c:pt>
                <c:pt idx="4">
                  <c:v>Soignon</c:v>
                </c:pt>
                <c:pt idx="5">
                  <c:v>Caprice Des Dieux</c:v>
                </c:pt>
                <c:pt idx="6">
                  <c:v>Casa Azzurra</c:v>
                </c:pt>
                <c:pt idx="7">
                  <c:v>Coeur De Lion</c:v>
                </c:pt>
              </c:strCache>
            </c:strRef>
          </c:cat>
          <c:val>
            <c:numRef>
              <c:f>Sheet1!$F$2:$F$9</c:f>
              <c:numCache>
                <c:formatCode>General</c:formatCode>
                <c:ptCount val="8"/>
                <c:pt idx="0">
                  <c:v>2.1223000000000001</c:v>
                </c:pt>
                <c:pt idx="1">
                  <c:v>3.3052000000000001</c:v>
                </c:pt>
                <c:pt idx="2">
                  <c:v>2.1023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All Others</c:v>
                </c:pt>
                <c:pt idx="2">
                  <c:v>President</c:v>
                </c:pt>
                <c:pt idx="3">
                  <c:v>Galbani</c:v>
                </c:pt>
                <c:pt idx="4">
                  <c:v>Soignon</c:v>
                </c:pt>
                <c:pt idx="5">
                  <c:v>Caprice Des Dieux</c:v>
                </c:pt>
                <c:pt idx="6">
                  <c:v>Casa Azzurra</c:v>
                </c:pt>
                <c:pt idx="7">
                  <c:v>Coeur De Lion</c:v>
                </c:pt>
              </c:strCache>
            </c:strRef>
          </c:cat>
          <c:val>
            <c:numRef>
              <c:f>Sheet1!$G$2:$G$9</c:f>
              <c:numCache>
                <c:formatCode>General</c:formatCode>
                <c:ptCount val="8"/>
                <c:pt idx="0">
                  <c:v>2.3515999999999999</c:v>
                </c:pt>
                <c:pt idx="5">
                  <c:v>3.50599999999999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All Others</c:v>
                </c:pt>
                <c:pt idx="2">
                  <c:v>President</c:v>
                </c:pt>
                <c:pt idx="3">
                  <c:v>Galbani</c:v>
                </c:pt>
                <c:pt idx="4">
                  <c:v>Soignon</c:v>
                </c:pt>
                <c:pt idx="5">
                  <c:v>Caprice Des Dieux</c:v>
                </c:pt>
                <c:pt idx="6">
                  <c:v>Casa Azzurra</c:v>
                </c:pt>
                <c:pt idx="7">
                  <c:v>Coeur De Lion</c:v>
                </c:pt>
              </c:strCache>
            </c:strRef>
          </c:cat>
          <c:val>
            <c:numRef>
              <c:f>Sheet1!$H$2:$H$9</c:f>
              <c:numCache>
                <c:formatCode>General</c:formatCode>
                <c:ptCount val="8"/>
                <c:pt idx="0">
                  <c:v>2.5318000000000001</c:v>
                </c:pt>
                <c:pt idx="7">
                  <c:v>2.7395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Galbani</c:v>
                </c:pt>
                <c:pt idx="4">
                  <c:v>Soignon</c:v>
                </c:pt>
                <c:pt idx="5">
                  <c:v>Caprice Des Dieux</c:v>
                </c:pt>
                <c:pt idx="6">
                  <c:v>Casa Azzurra</c:v>
                </c:pt>
                <c:pt idx="7">
                  <c:v>Coeur De Lion</c:v>
                </c:pt>
              </c:strCache>
            </c:strRef>
          </c:cat>
          <c:val>
            <c:numRef>
              <c:f>Sheet1!$I$2:$I$9</c:f>
              <c:numCache>
                <c:formatCode>General</c:formatCode>
                <c:ptCount val="8"/>
                <c:pt idx="0">
                  <c:v>3.001799999999999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All Others</c:v>
                </c:pt>
                <c:pt idx="2">
                  <c:v>President</c:v>
                </c:pt>
                <c:pt idx="3">
                  <c:v>Galbani</c:v>
                </c:pt>
                <c:pt idx="4">
                  <c:v>Soignon</c:v>
                </c:pt>
                <c:pt idx="5">
                  <c:v>Caprice Des Dieux</c:v>
                </c:pt>
                <c:pt idx="6">
                  <c:v>Casa Azzurra</c:v>
                </c:pt>
                <c:pt idx="7">
                  <c:v>Coeur De Lion</c:v>
                </c:pt>
              </c:strCache>
            </c:strRef>
          </c:cat>
          <c:val>
            <c:numRef>
              <c:f>Sheet1!$J$2:$J$9</c:f>
              <c:numCache>
                <c:formatCode>General</c:formatCode>
                <c:ptCount val="8"/>
                <c:pt idx="0">
                  <c:v>3.8113000000000001</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B$2:$B$10</c:f>
              <c:numCache>
                <c:formatCode>General</c:formatCode>
                <c:ptCount val="9"/>
                <c:pt idx="0">
                  <c:v>2.3521999999999998</c:v>
                </c:pt>
                <c:pt idx="1">
                  <c:v>2.83300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C$2:$C$10</c:f>
              <c:numCache>
                <c:formatCode>General</c:formatCode>
                <c:ptCount val="9"/>
                <c:pt idx="0">
                  <c:v>1.4641999999999999</c:v>
                </c:pt>
                <c:pt idx="1">
                  <c:v>2.5750000000000002</c:v>
                </c:pt>
                <c:pt idx="4">
                  <c:v>1.716</c:v>
                </c:pt>
                <c:pt idx="7">
                  <c:v>2.0792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D$2:$D$10</c:f>
              <c:numCache>
                <c:formatCode>General</c:formatCode>
                <c:ptCount val="9"/>
                <c:pt idx="0">
                  <c:v>2.0785999999999998</c:v>
                </c:pt>
                <c:pt idx="1">
                  <c:v>3.2345000000000002</c:v>
                </c:pt>
                <c:pt idx="3">
                  <c:v>2.4662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E$2:$E$10</c:f>
              <c:numCache>
                <c:formatCode>General</c:formatCode>
                <c:ptCount val="9"/>
                <c:pt idx="0">
                  <c:v>2.22639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F$2:$F$10</c:f>
              <c:numCache>
                <c:formatCode>General</c:formatCode>
                <c:ptCount val="9"/>
                <c:pt idx="0">
                  <c:v>2.6680999999999999</c:v>
                </c:pt>
                <c:pt idx="1">
                  <c:v>3.9357000000000002</c:v>
                </c:pt>
                <c:pt idx="5">
                  <c:v>2.4548999999999999</c:v>
                </c:pt>
                <c:pt idx="6">
                  <c:v>3.25830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G$2:$G$10</c:f>
              <c:numCache>
                <c:formatCode>General</c:formatCode>
                <c:ptCount val="9"/>
                <c:pt idx="0">
                  <c:v>2.2673999999999999</c:v>
                </c:pt>
                <c:pt idx="1">
                  <c:v>3.6017000000000001</c:v>
                </c:pt>
                <c:pt idx="2">
                  <c:v>2.1034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H$2:$H$10</c:f>
              <c:numCache>
                <c:formatCode>General</c:formatCode>
                <c:ptCount val="9"/>
                <c:pt idx="0">
                  <c:v>2.3803000000000001</c:v>
                </c:pt>
                <c:pt idx="6">
                  <c:v>3.6446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I$2:$I$10</c:f>
              <c:numCache>
                <c:formatCode>General</c:formatCode>
                <c:ptCount val="9"/>
                <c:pt idx="0">
                  <c:v>2.2715000000000001</c:v>
                </c:pt>
                <c:pt idx="8">
                  <c:v>2.956300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J$2:$J$10</c:f>
              <c:numCache>
                <c:formatCode>General</c:formatCode>
                <c:ptCount val="9"/>
                <c:pt idx="0">
                  <c:v>2.726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K$2:$K$10</c:f>
              <c:numCache>
                <c:formatCode>General</c:formatCode>
                <c:ptCount val="9"/>
                <c:pt idx="0">
                  <c:v>3.2818000000000001</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Private Label</c:v>
                </c:pt>
                <c:pt idx="1">
                  <c:v>President</c:v>
                </c:pt>
                <c:pt idx="2">
                  <c:v>Entremont</c:v>
                </c:pt>
                <c:pt idx="3">
                  <c:v>Galbani</c:v>
                </c:pt>
                <c:pt idx="4">
                  <c:v>Caprice Des Dieux</c:v>
                </c:pt>
              </c:strCache>
            </c:strRef>
          </c:cat>
          <c:val>
            <c:numRef>
              <c:f>Sheet1!$B$2:$B$6</c:f>
              <c:numCache>
                <c:formatCode>General</c:formatCode>
                <c:ptCount val="5"/>
                <c:pt idx="0">
                  <c:v>1.620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Private Label</c:v>
                </c:pt>
                <c:pt idx="1">
                  <c:v>President</c:v>
                </c:pt>
                <c:pt idx="2">
                  <c:v>Entremont</c:v>
                </c:pt>
                <c:pt idx="3">
                  <c:v>Galbani</c:v>
                </c:pt>
                <c:pt idx="4">
                  <c:v>Caprice Des Dieux</c:v>
                </c:pt>
              </c:strCache>
            </c:strRef>
          </c:cat>
          <c:val>
            <c:numRef>
              <c:f>Sheet1!$C$2:$C$6</c:f>
              <c:numCache>
                <c:formatCode>General</c:formatCode>
                <c:ptCount val="5"/>
                <c:pt idx="0">
                  <c:v>7.944600000000000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Private Label</c:v>
                </c:pt>
                <c:pt idx="1">
                  <c:v>President</c:v>
                </c:pt>
                <c:pt idx="2">
                  <c:v>Entremont</c:v>
                </c:pt>
                <c:pt idx="3">
                  <c:v>Galbani</c:v>
                </c:pt>
                <c:pt idx="4">
                  <c:v>Caprice Des Dieux</c:v>
                </c:pt>
              </c:strCache>
            </c:strRef>
          </c:cat>
          <c:val>
            <c:numRef>
              <c:f>Sheet1!$D$2:$D$6</c:f>
              <c:numCache>
                <c:formatCode>General</c:formatCode>
                <c:ptCount val="5"/>
                <c:pt idx="0">
                  <c:v>1.4187000000000001</c:v>
                </c:pt>
                <c:pt idx="3">
                  <c:v>1.6447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Private Label</c:v>
                </c:pt>
                <c:pt idx="1">
                  <c:v>President</c:v>
                </c:pt>
                <c:pt idx="2">
                  <c:v>Entremont</c:v>
                </c:pt>
                <c:pt idx="3">
                  <c:v>Galbani</c:v>
                </c:pt>
                <c:pt idx="4">
                  <c:v>Caprice Des Dieux</c:v>
                </c:pt>
              </c:strCache>
            </c:strRef>
          </c:cat>
          <c:val>
            <c:numRef>
              <c:f>Sheet1!$E$2:$E$6</c:f>
              <c:numCache>
                <c:formatCode>General</c:formatCode>
                <c:ptCount val="5"/>
                <c:pt idx="0">
                  <c:v>1.8260000000000001</c:v>
                </c:pt>
                <c:pt idx="3">
                  <c:v>3.12990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Private Label</c:v>
                </c:pt>
                <c:pt idx="1">
                  <c:v>President</c:v>
                </c:pt>
                <c:pt idx="2">
                  <c:v>Entremont</c:v>
                </c:pt>
                <c:pt idx="3">
                  <c:v>Galbani</c:v>
                </c:pt>
                <c:pt idx="4">
                  <c:v>Caprice Des Dieux</c:v>
                </c:pt>
              </c:strCache>
            </c:strRef>
          </c:cat>
          <c:val>
            <c:numRef>
              <c:f>Sheet1!$F$2:$F$6</c:f>
              <c:numCache>
                <c:formatCode>General</c:formatCode>
                <c:ptCount val="5"/>
                <c:pt idx="0">
                  <c:v>2.1358000000000001</c:v>
                </c:pt>
                <c:pt idx="1">
                  <c:v>2.3753000000000002</c:v>
                </c:pt>
                <c:pt idx="2">
                  <c:v>3.368799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Private Label</c:v>
                </c:pt>
                <c:pt idx="1">
                  <c:v>President</c:v>
                </c:pt>
                <c:pt idx="2">
                  <c:v>Entremont</c:v>
                </c:pt>
                <c:pt idx="3">
                  <c:v>Galbani</c:v>
                </c:pt>
                <c:pt idx="4">
                  <c:v>Caprice Des Dieux</c:v>
                </c:pt>
              </c:strCache>
            </c:strRef>
          </c:cat>
          <c:val>
            <c:numRef>
              <c:f>Sheet1!$G$2:$G$6</c:f>
              <c:numCache>
                <c:formatCode>General</c:formatCode>
                <c:ptCount val="5"/>
                <c:pt idx="0">
                  <c:v>2.1377999999999999</c:v>
                </c:pt>
                <c:pt idx="1">
                  <c:v>2.319300000000000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Private Label</c:v>
                </c:pt>
                <c:pt idx="1">
                  <c:v>President</c:v>
                </c:pt>
                <c:pt idx="2">
                  <c:v>Entremont</c:v>
                </c:pt>
                <c:pt idx="3">
                  <c:v>Galbani</c:v>
                </c:pt>
                <c:pt idx="4">
                  <c:v>Caprice Des Dieux</c:v>
                </c:pt>
              </c:strCache>
            </c:strRef>
          </c:cat>
          <c:val>
            <c:numRef>
              <c:f>Sheet1!$H$2:$H$6</c:f>
              <c:numCache>
                <c:formatCode>General</c:formatCode>
                <c:ptCount val="5"/>
                <c:pt idx="0">
                  <c:v>2.4672999999999998</c:v>
                </c:pt>
                <c:pt idx="4">
                  <c:v>3.7669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Private Label</c:v>
                </c:pt>
                <c:pt idx="1">
                  <c:v>President</c:v>
                </c:pt>
                <c:pt idx="2">
                  <c:v>Entremont</c:v>
                </c:pt>
                <c:pt idx="3">
                  <c:v>Galbani</c:v>
                </c:pt>
                <c:pt idx="4">
                  <c:v>Caprice Des Dieux</c:v>
                </c:pt>
              </c:strCache>
            </c:strRef>
          </c:cat>
          <c:val>
            <c:numRef>
              <c:f>Sheet1!$I$2:$I$6</c:f>
              <c:numCache>
                <c:formatCode>General</c:formatCode>
                <c:ptCount val="5"/>
                <c:pt idx="0">
                  <c:v>3.1549999999999998</c:v>
                </c:pt>
                <c:pt idx="1">
                  <c:v>3.338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Private Label</c:v>
                </c:pt>
                <c:pt idx="1">
                  <c:v>President</c:v>
                </c:pt>
                <c:pt idx="2">
                  <c:v>Entremont</c:v>
                </c:pt>
                <c:pt idx="3">
                  <c:v>Galbani</c:v>
                </c:pt>
                <c:pt idx="4">
                  <c:v>Caprice Des Dieux</c:v>
                </c:pt>
              </c:strCache>
            </c:strRef>
          </c:cat>
          <c:val>
            <c:numRef>
              <c:f>Sheet1!$J$2:$J$6</c:f>
              <c:numCache>
                <c:formatCode>General</c:formatCode>
                <c:ptCount val="5"/>
                <c:pt idx="0">
                  <c:v>3.406600000000000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Private Label</c:v>
                </c:pt>
                <c:pt idx="1">
                  <c:v>President</c:v>
                </c:pt>
                <c:pt idx="2">
                  <c:v>Entremont</c:v>
                </c:pt>
                <c:pt idx="3">
                  <c:v>Galbani</c:v>
                </c:pt>
                <c:pt idx="4">
                  <c:v>Caprice Des Dieux</c:v>
                </c:pt>
              </c:strCache>
            </c:strRef>
          </c:cat>
          <c:val>
            <c:numRef>
              <c:f>Sheet1!$K$2:$K$6</c:f>
              <c:numCache>
                <c:formatCode>General</c:formatCode>
                <c:ptCount val="5"/>
                <c:pt idx="0">
                  <c:v>3.794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7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Private Label</c:v>
                </c:pt>
                <c:pt idx="1">
                  <c:v>President</c:v>
                </c:pt>
                <c:pt idx="2">
                  <c:v>Entremont</c:v>
                </c:pt>
                <c:pt idx="3">
                  <c:v>Galbani</c:v>
                </c:pt>
                <c:pt idx="4">
                  <c:v>Caprice Des Dieux</c:v>
                </c:pt>
              </c:strCache>
            </c:strRef>
          </c:cat>
          <c:val>
            <c:numRef>
              <c:f>Sheet1!$L$2:$L$6</c:f>
              <c:numCache>
                <c:formatCode>General</c:formatCode>
                <c:ptCount val="5"/>
                <c:pt idx="0">
                  <c:v>1.9049</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B$2:$B$10</c:f>
              <c:numCache>
                <c:formatCode>General</c:formatCode>
                <c:ptCount val="9"/>
                <c:pt idx="0">
                  <c:v>2.173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C$2:$C$10</c:f>
              <c:numCache>
                <c:formatCode>General</c:formatCode>
                <c:ptCount val="9"/>
                <c:pt idx="0">
                  <c:v>1.3553999999999999</c:v>
                </c:pt>
                <c:pt idx="3">
                  <c:v>1.6195999999999999</c:v>
                </c:pt>
                <c:pt idx="7">
                  <c:v>1.8734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D$2:$D$10</c:f>
              <c:numCache>
                <c:formatCode>General</c:formatCode>
                <c:ptCount val="9"/>
                <c:pt idx="0">
                  <c:v>1.8089999999999999</c:v>
                </c:pt>
                <c:pt idx="3">
                  <c:v>3.0081000000000002</c:v>
                </c:pt>
                <c:pt idx="4">
                  <c:v>2.3248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E$2:$E$10</c:f>
              <c:numCache>
                <c:formatCode>General</c:formatCode>
                <c:ptCount val="9"/>
                <c:pt idx="0">
                  <c:v>2.098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F$2:$F$10</c:f>
              <c:numCache>
                <c:formatCode>General</c:formatCode>
                <c:ptCount val="9"/>
                <c:pt idx="0">
                  <c:v>2.4413</c:v>
                </c:pt>
                <c:pt idx="1">
                  <c:v>3.7185999999999999</c:v>
                </c:pt>
                <c:pt idx="5">
                  <c:v>2.2940999999999998</c:v>
                </c:pt>
                <c:pt idx="6">
                  <c:v>3.1402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G$2:$G$10</c:f>
              <c:numCache>
                <c:formatCode>General</c:formatCode>
                <c:ptCount val="9"/>
                <c:pt idx="0">
                  <c:v>2.0844999999999998</c:v>
                </c:pt>
                <c:pt idx="1">
                  <c:v>3.2993999999999999</c:v>
                </c:pt>
                <c:pt idx="2">
                  <c:v>2.062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H$2:$H$10</c:f>
              <c:numCache>
                <c:formatCode>General</c:formatCode>
                <c:ptCount val="9"/>
                <c:pt idx="0">
                  <c:v>2.3471000000000002</c:v>
                </c:pt>
                <c:pt idx="4">
                  <c:v>3.4746000000000001</c:v>
                </c:pt>
                <c:pt idx="6">
                  <c:v>3.5059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I$2:$I$10</c:f>
              <c:numCache>
                <c:formatCode>General</c:formatCode>
                <c:ptCount val="9"/>
                <c:pt idx="0">
                  <c:v>2.2717000000000001</c:v>
                </c:pt>
                <c:pt idx="8">
                  <c:v>2.739599999999999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J$2:$J$10</c:f>
              <c:numCache>
                <c:formatCode>General</c:formatCode>
                <c:ptCount val="9"/>
                <c:pt idx="0">
                  <c:v>2.74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K$2:$K$10</c:f>
              <c:numCache>
                <c:formatCode>General</c:formatCode>
                <c:ptCount val="9"/>
                <c:pt idx="0">
                  <c:v>2.941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L$2:$L$10</c:f>
              <c:numCache>
                <c:formatCode>General</c:formatCode>
                <c:ptCount val="9"/>
                <c:pt idx="0">
                  <c:v>3.8161999999999998</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B$2:$B$10</c:f>
              <c:numCache>
                <c:formatCode>General</c:formatCode>
                <c:ptCount val="9"/>
                <c:pt idx="0">
                  <c:v>2.3521999999999998</c:v>
                </c:pt>
                <c:pt idx="1">
                  <c:v>2.8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C$2:$C$10</c:f>
              <c:numCache>
                <c:formatCode>General</c:formatCode>
                <c:ptCount val="9"/>
                <c:pt idx="0">
                  <c:v>1.4641999999999999</c:v>
                </c:pt>
                <c:pt idx="1">
                  <c:v>2.5741999999999998</c:v>
                </c:pt>
                <c:pt idx="4">
                  <c:v>1.716</c:v>
                </c:pt>
                <c:pt idx="7">
                  <c:v>2.0792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D$2:$D$10</c:f>
              <c:numCache>
                <c:formatCode>General</c:formatCode>
                <c:ptCount val="9"/>
                <c:pt idx="0">
                  <c:v>2.0785999999999998</c:v>
                </c:pt>
                <c:pt idx="1">
                  <c:v>3.2280000000000002</c:v>
                </c:pt>
                <c:pt idx="3">
                  <c:v>2.4662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E$2:$E$10</c:f>
              <c:numCache>
                <c:formatCode>General</c:formatCode>
                <c:ptCount val="9"/>
                <c:pt idx="0">
                  <c:v>2.2263999999999999</c:v>
                </c:pt>
                <c:pt idx="5">
                  <c:v>2.739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F$2:$F$10</c:f>
              <c:numCache>
                <c:formatCode>General</c:formatCode>
                <c:ptCount val="9"/>
                <c:pt idx="0">
                  <c:v>2.6680999999999999</c:v>
                </c:pt>
                <c:pt idx="1">
                  <c:v>3.9329999999999998</c:v>
                </c:pt>
                <c:pt idx="5">
                  <c:v>2.4548999999999999</c:v>
                </c:pt>
                <c:pt idx="6">
                  <c:v>3.25830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G$2:$G$10</c:f>
              <c:numCache>
                <c:formatCode>General</c:formatCode>
                <c:ptCount val="9"/>
                <c:pt idx="0">
                  <c:v>2.2673999999999999</c:v>
                </c:pt>
                <c:pt idx="1">
                  <c:v>3.6017000000000001</c:v>
                </c:pt>
                <c:pt idx="2">
                  <c:v>2.1034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H$2:$H$10</c:f>
              <c:numCache>
                <c:formatCode>General</c:formatCode>
                <c:ptCount val="9"/>
                <c:pt idx="0">
                  <c:v>2.3803000000000001</c:v>
                </c:pt>
                <c:pt idx="6">
                  <c:v>3.6446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I$2:$I$10</c:f>
              <c:numCache>
                <c:formatCode>General</c:formatCode>
                <c:ptCount val="9"/>
                <c:pt idx="0">
                  <c:v>2.2715000000000001</c:v>
                </c:pt>
                <c:pt idx="8">
                  <c:v>2.956300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J$2:$J$10</c:f>
              <c:numCache>
                <c:formatCode>General</c:formatCode>
                <c:ptCount val="9"/>
                <c:pt idx="0">
                  <c:v>2.726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K$2:$K$10</c:f>
              <c:numCache>
                <c:formatCode>General</c:formatCode>
                <c:ptCount val="9"/>
                <c:pt idx="0">
                  <c:v>3.2818000000000001</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Galbani</c:v>
                </c:pt>
                <c:pt idx="2">
                  <c:v>President</c:v>
                </c:pt>
                <c:pt idx="3">
                  <c:v>All Others</c:v>
                </c:pt>
                <c:pt idx="4">
                  <c:v>St Moret</c:v>
                </c:pt>
                <c:pt idx="5">
                  <c:v>Soignon</c:v>
                </c:pt>
                <c:pt idx="6">
                  <c:v>Caprice Des Dieux</c:v>
                </c:pt>
                <c:pt idx="7">
                  <c:v>Coeur De Lion</c:v>
                </c:pt>
              </c:strCache>
            </c:strRef>
          </c:cat>
          <c:val>
            <c:numRef>
              <c:f>Sheet1!$B$2:$B$9</c:f>
              <c:numCache>
                <c:formatCode>General</c:formatCode>
                <c:ptCount val="8"/>
                <c:pt idx="0">
                  <c:v>1.3976999999999999</c:v>
                </c:pt>
                <c:pt idx="1">
                  <c:v>1.6447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Galbani</c:v>
                </c:pt>
                <c:pt idx="2">
                  <c:v>President</c:v>
                </c:pt>
                <c:pt idx="3">
                  <c:v>All Others</c:v>
                </c:pt>
                <c:pt idx="4">
                  <c:v>St Moret</c:v>
                </c:pt>
                <c:pt idx="5">
                  <c:v>Soignon</c:v>
                </c:pt>
                <c:pt idx="6">
                  <c:v>Caprice Des Dieux</c:v>
                </c:pt>
                <c:pt idx="7">
                  <c:v>Coeur De Lion</c:v>
                </c:pt>
              </c:strCache>
            </c:strRef>
          </c:cat>
          <c:val>
            <c:numRef>
              <c:f>Sheet1!$C$2:$C$9</c:f>
              <c:numCache>
                <c:formatCode>General</c:formatCode>
                <c:ptCount val="8"/>
                <c:pt idx="0">
                  <c:v>1.7119</c:v>
                </c:pt>
                <c:pt idx="1">
                  <c:v>3.1242999999999999</c:v>
                </c:pt>
                <c:pt idx="4">
                  <c:v>2.3075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Galbani</c:v>
                </c:pt>
                <c:pt idx="2">
                  <c:v>President</c:v>
                </c:pt>
                <c:pt idx="3">
                  <c:v>All Others</c:v>
                </c:pt>
                <c:pt idx="4">
                  <c:v>St Moret</c:v>
                </c:pt>
                <c:pt idx="5">
                  <c:v>Soignon</c:v>
                </c:pt>
                <c:pt idx="6">
                  <c:v>Caprice Des Dieux</c:v>
                </c:pt>
                <c:pt idx="7">
                  <c:v>Coeur De Lion</c:v>
                </c:pt>
              </c:strCache>
            </c:strRef>
          </c:cat>
          <c:val>
            <c:numRef>
              <c:f>Sheet1!$D$2:$D$9</c:f>
              <c:numCache>
                <c:formatCode>General</c:formatCode>
                <c:ptCount val="8"/>
                <c:pt idx="2">
                  <c:v>2.1297999999999999</c:v>
                </c:pt>
                <c:pt idx="4">
                  <c:v>2.2938000000000001</c:v>
                </c:pt>
                <c:pt idx="5">
                  <c:v>2.6882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Galbani</c:v>
                </c:pt>
                <c:pt idx="2">
                  <c:v>President</c:v>
                </c:pt>
                <c:pt idx="3">
                  <c:v>All Others</c:v>
                </c:pt>
                <c:pt idx="4">
                  <c:v>St Moret</c:v>
                </c:pt>
                <c:pt idx="5">
                  <c:v>Soignon</c:v>
                </c:pt>
                <c:pt idx="6">
                  <c:v>Caprice Des Dieux</c:v>
                </c:pt>
                <c:pt idx="7">
                  <c:v>Coeur De Lion</c:v>
                </c:pt>
              </c:strCache>
            </c:strRef>
          </c:cat>
          <c:val>
            <c:numRef>
              <c:f>Sheet1!$E$2:$E$9</c:f>
              <c:numCache>
                <c:formatCode>General</c:formatCode>
                <c:ptCount val="8"/>
                <c:pt idx="0">
                  <c:v>2.532</c:v>
                </c:pt>
                <c:pt idx="5">
                  <c:v>2.2808999999999999</c:v>
                </c:pt>
                <c:pt idx="6">
                  <c:v>3.03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Galbani</c:v>
                </c:pt>
                <c:pt idx="2">
                  <c:v>President</c:v>
                </c:pt>
                <c:pt idx="3">
                  <c:v>All Others</c:v>
                </c:pt>
                <c:pt idx="4">
                  <c:v>St Moret</c:v>
                </c:pt>
                <c:pt idx="5">
                  <c:v>Soignon</c:v>
                </c:pt>
                <c:pt idx="6">
                  <c:v>Caprice Des Dieux</c:v>
                </c:pt>
                <c:pt idx="7">
                  <c:v>Coeur De Lion</c:v>
                </c:pt>
              </c:strCache>
            </c:strRef>
          </c:cat>
          <c:val>
            <c:numRef>
              <c:f>Sheet1!$F$2:$F$9</c:f>
              <c:numCache>
                <c:formatCode>General</c:formatCode>
                <c:ptCount val="8"/>
                <c:pt idx="0">
                  <c:v>1.8571</c:v>
                </c:pt>
                <c:pt idx="2">
                  <c:v>2.1446000000000001</c:v>
                </c:pt>
                <c:pt idx="3">
                  <c:v>3.1257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Galbani</c:v>
                </c:pt>
                <c:pt idx="2">
                  <c:v>President</c:v>
                </c:pt>
                <c:pt idx="3">
                  <c:v>All Others</c:v>
                </c:pt>
                <c:pt idx="4">
                  <c:v>St Moret</c:v>
                </c:pt>
                <c:pt idx="5">
                  <c:v>Soignon</c:v>
                </c:pt>
                <c:pt idx="6">
                  <c:v>Caprice Des Dieux</c:v>
                </c:pt>
                <c:pt idx="7">
                  <c:v>Coeur De Lion</c:v>
                </c:pt>
              </c:strCache>
            </c:strRef>
          </c:cat>
          <c:val>
            <c:numRef>
              <c:f>Sheet1!$G$2:$G$9</c:f>
              <c:numCache>
                <c:formatCode>General</c:formatCode>
                <c:ptCount val="8"/>
                <c:pt idx="0">
                  <c:v>2.4792000000000001</c:v>
                </c:pt>
                <c:pt idx="4">
                  <c:v>3.6204000000000001</c:v>
                </c:pt>
                <c:pt idx="5">
                  <c:v>3.2179000000000002</c:v>
                </c:pt>
                <c:pt idx="6">
                  <c:v>3.76699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Galbani</c:v>
                </c:pt>
                <c:pt idx="2">
                  <c:v>President</c:v>
                </c:pt>
                <c:pt idx="3">
                  <c:v>All Others</c:v>
                </c:pt>
                <c:pt idx="4">
                  <c:v>St Moret</c:v>
                </c:pt>
                <c:pt idx="5">
                  <c:v>Soignon</c:v>
                </c:pt>
                <c:pt idx="6">
                  <c:v>Caprice Des Dieux</c:v>
                </c:pt>
                <c:pt idx="7">
                  <c:v>Coeur De Lion</c:v>
                </c:pt>
              </c:strCache>
            </c:strRef>
          </c:cat>
          <c:val>
            <c:numRef>
              <c:f>Sheet1!$H$2:$H$9</c:f>
              <c:numCache>
                <c:formatCode>General</c:formatCode>
                <c:ptCount val="8"/>
                <c:pt idx="0">
                  <c:v>2.2565</c:v>
                </c:pt>
                <c:pt idx="2">
                  <c:v>2.9597000000000002</c:v>
                </c:pt>
                <c:pt idx="7">
                  <c:v>2.8443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Galbani</c:v>
                </c:pt>
                <c:pt idx="2">
                  <c:v>President</c:v>
                </c:pt>
                <c:pt idx="3">
                  <c:v>All Others</c:v>
                </c:pt>
                <c:pt idx="4">
                  <c:v>St Moret</c:v>
                </c:pt>
                <c:pt idx="5">
                  <c:v>Soignon</c:v>
                </c:pt>
                <c:pt idx="6">
                  <c:v>Caprice Des Dieux</c:v>
                </c:pt>
                <c:pt idx="7">
                  <c:v>Coeur De Lion</c:v>
                </c:pt>
              </c:strCache>
            </c:strRef>
          </c:cat>
          <c:val>
            <c:numRef>
              <c:f>Sheet1!$I$2:$I$9</c:f>
              <c:numCache>
                <c:formatCode>General</c:formatCode>
                <c:ptCount val="8"/>
                <c:pt idx="1">
                  <c:v>3.55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Galbani</c:v>
                </c:pt>
                <c:pt idx="2">
                  <c:v>President</c:v>
                </c:pt>
                <c:pt idx="3">
                  <c:v>All Others</c:v>
                </c:pt>
                <c:pt idx="4">
                  <c:v>St Moret</c:v>
                </c:pt>
                <c:pt idx="5">
                  <c:v>Soignon</c:v>
                </c:pt>
                <c:pt idx="6">
                  <c:v>Caprice Des Dieux</c:v>
                </c:pt>
                <c:pt idx="7">
                  <c:v>Coeur De Lion</c:v>
                </c:pt>
              </c:strCache>
            </c:strRef>
          </c:cat>
          <c:val>
            <c:numRef>
              <c:f>Sheet1!$J$2:$J$9</c:f>
              <c:numCache>
                <c:formatCode>General</c:formatCode>
                <c:ptCount val="8"/>
                <c:pt idx="0">
                  <c:v>3.1678999999999999</c:v>
                </c:pt>
                <c:pt idx="4">
                  <c:v>4.493699999999999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Galbani</c:v>
                </c:pt>
                <c:pt idx="2">
                  <c:v>President</c:v>
                </c:pt>
                <c:pt idx="3">
                  <c:v>All Others</c:v>
                </c:pt>
                <c:pt idx="4">
                  <c:v>St Moret</c:v>
                </c:pt>
                <c:pt idx="5">
                  <c:v>Soignon</c:v>
                </c:pt>
                <c:pt idx="6">
                  <c:v>Caprice Des Dieux</c:v>
                </c:pt>
                <c:pt idx="7">
                  <c:v>Coeur De Lion</c:v>
                </c:pt>
              </c:strCache>
            </c:strRef>
          </c:cat>
          <c:val>
            <c:numRef>
              <c:f>Sheet1!$K$2:$K$9</c:f>
              <c:numCache>
                <c:formatCode>General</c:formatCode>
                <c:ptCount val="8"/>
                <c:pt idx="0">
                  <c:v>3.7589999999999999</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B$2:$B$7</c:f>
              <c:numCache>
                <c:formatCode>General</c:formatCode>
                <c:ptCount val="6"/>
                <c:pt idx="1">
                  <c:v>2.0144000000000002</c:v>
                </c:pt>
                <c:pt idx="2">
                  <c:v>3.5047999999999999</c:v>
                </c:pt>
                <c:pt idx="3">
                  <c:v>2.871</c:v>
                </c:pt>
                <c:pt idx="4">
                  <c:v>2.6423000000000001</c:v>
                </c:pt>
                <c:pt idx="5">
                  <c:v>5.37870000000000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C$2:$C$7</c:f>
              <c:numCache>
                <c:formatCode>General</c:formatCode>
                <c:ptCount val="6"/>
                <c:pt idx="0">
                  <c:v>2.399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D$2:$D$7</c:f>
              <c:numCache>
                <c:formatCode>General</c:formatCode>
                <c:ptCount val="6"/>
                <c:pt idx="0">
                  <c:v>4.238599999999999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Apericube</c:v>
                </c:pt>
                <c:pt idx="1">
                  <c:v>Aperivrais</c:v>
                </c:pt>
                <c:pt idx="2">
                  <c:v>Boursin</c:v>
                </c:pt>
                <c:pt idx="3">
                  <c:v>Private Label</c:v>
                </c:pt>
                <c:pt idx="4">
                  <c:v>St Moret</c:v>
                </c:pt>
                <c:pt idx="5">
                  <c:v>All Others</c:v>
                </c:pt>
                <c:pt idx="6">
                  <c:v>Leerdammer</c:v>
                </c:pt>
              </c:strCache>
            </c:strRef>
          </c:cat>
          <c:val>
            <c:numRef>
              <c:f>Sheet1!$B$2:$B$8</c:f>
              <c:numCache>
                <c:formatCode>General</c:formatCode>
                <c:ptCount val="7"/>
                <c:pt idx="1">
                  <c:v>2.1343000000000001</c:v>
                </c:pt>
                <c:pt idx="2">
                  <c:v>3.4523000000000001</c:v>
                </c:pt>
                <c:pt idx="3">
                  <c:v>3.1278999999999999</c:v>
                </c:pt>
                <c:pt idx="4">
                  <c:v>2.6861999999999999</c:v>
                </c:pt>
                <c:pt idx="5">
                  <c:v>5.69949999999999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Apericube</c:v>
                </c:pt>
                <c:pt idx="1">
                  <c:v>Aperivrais</c:v>
                </c:pt>
                <c:pt idx="2">
                  <c:v>Boursin</c:v>
                </c:pt>
                <c:pt idx="3">
                  <c:v>Private Label</c:v>
                </c:pt>
                <c:pt idx="4">
                  <c:v>St Moret</c:v>
                </c:pt>
                <c:pt idx="5">
                  <c:v>All Others</c:v>
                </c:pt>
                <c:pt idx="6">
                  <c:v>Leerdammer</c:v>
                </c:pt>
              </c:strCache>
            </c:strRef>
          </c:cat>
          <c:val>
            <c:numRef>
              <c:f>Sheet1!$C$2:$C$8</c:f>
              <c:numCache>
                <c:formatCode>General</c:formatCode>
                <c:ptCount val="7"/>
                <c:pt idx="0">
                  <c:v>2.4738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Apericube</c:v>
                </c:pt>
                <c:pt idx="1">
                  <c:v>Aperivrais</c:v>
                </c:pt>
                <c:pt idx="2">
                  <c:v>Boursin</c:v>
                </c:pt>
                <c:pt idx="3">
                  <c:v>Private Label</c:v>
                </c:pt>
                <c:pt idx="4">
                  <c:v>St Moret</c:v>
                </c:pt>
                <c:pt idx="5">
                  <c:v>All Others</c:v>
                </c:pt>
                <c:pt idx="6">
                  <c:v>Leerdammer</c:v>
                </c:pt>
              </c:strCache>
            </c:strRef>
          </c:cat>
          <c:val>
            <c:numRef>
              <c:f>Sheet1!$D$2:$D$8</c:f>
              <c:numCache>
                <c:formatCode>General</c:formatCode>
                <c:ptCount val="7"/>
                <c:pt idx="0">
                  <c:v>4.47700000000000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Apericube</c:v>
                </c:pt>
                <c:pt idx="1">
                  <c:v>Aperivrais</c:v>
                </c:pt>
                <c:pt idx="2">
                  <c:v>Boursin</c:v>
                </c:pt>
                <c:pt idx="3">
                  <c:v>Private Label</c:v>
                </c:pt>
                <c:pt idx="4">
                  <c:v>St Moret</c:v>
                </c:pt>
                <c:pt idx="5">
                  <c:v>All Others</c:v>
                </c:pt>
                <c:pt idx="6">
                  <c:v>Leerdammer</c:v>
                </c:pt>
              </c:strCache>
            </c:strRef>
          </c:cat>
          <c:val>
            <c:numRef>
              <c:f>Sheet1!$E$2:$E$8</c:f>
              <c:numCache>
                <c:formatCode>General</c:formatCode>
                <c:ptCount val="7"/>
                <c:pt idx="6">
                  <c:v>1.866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Apericube</c:v>
                </c:pt>
                <c:pt idx="1">
                  <c:v>Aperivrais</c:v>
                </c:pt>
                <c:pt idx="2">
                  <c:v>Boursin</c:v>
                </c:pt>
                <c:pt idx="3">
                  <c:v>St Moret</c:v>
                </c:pt>
                <c:pt idx="4">
                  <c:v>Private Label</c:v>
                </c:pt>
              </c:strCache>
            </c:strRef>
          </c:cat>
          <c:val>
            <c:numRef>
              <c:f>Sheet1!$B$2:$B$6</c:f>
              <c:numCache>
                <c:formatCode>General</c:formatCode>
                <c:ptCount val="5"/>
                <c:pt idx="1">
                  <c:v>2.1753</c:v>
                </c:pt>
                <c:pt idx="2">
                  <c:v>3.5583</c:v>
                </c:pt>
                <c:pt idx="3">
                  <c:v>2.6888000000000001</c:v>
                </c:pt>
                <c:pt idx="4">
                  <c:v>2.8294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Apericube</c:v>
                </c:pt>
                <c:pt idx="1">
                  <c:v>Aperivrais</c:v>
                </c:pt>
                <c:pt idx="2">
                  <c:v>Boursin</c:v>
                </c:pt>
                <c:pt idx="3">
                  <c:v>St Moret</c:v>
                </c:pt>
                <c:pt idx="4">
                  <c:v>Private Label</c:v>
                </c:pt>
              </c:strCache>
            </c:strRef>
          </c:cat>
          <c:val>
            <c:numRef>
              <c:f>Sheet1!$C$2:$C$6</c:f>
              <c:numCache>
                <c:formatCode>General</c:formatCode>
                <c:ptCount val="5"/>
                <c:pt idx="0">
                  <c:v>2.3662999999999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Apericube</c:v>
                </c:pt>
                <c:pt idx="1">
                  <c:v>Aperivrais</c:v>
                </c:pt>
                <c:pt idx="2">
                  <c:v>Boursin</c:v>
                </c:pt>
                <c:pt idx="3">
                  <c:v>St Moret</c:v>
                </c:pt>
                <c:pt idx="4">
                  <c:v>Private Label</c:v>
                </c:pt>
              </c:strCache>
            </c:strRef>
          </c:cat>
          <c:val>
            <c:numRef>
              <c:f>Sheet1!$D$2:$D$6</c:f>
              <c:numCache>
                <c:formatCode>General</c:formatCode>
                <c:ptCount val="5"/>
                <c:pt idx="4">
                  <c:v>2.15229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Apericube</c:v>
                </c:pt>
                <c:pt idx="1">
                  <c:v>Aperivrais</c:v>
                </c:pt>
                <c:pt idx="2">
                  <c:v>Boursin</c:v>
                </c:pt>
                <c:pt idx="3">
                  <c:v>St Moret</c:v>
                </c:pt>
                <c:pt idx="4">
                  <c:v>Private Label</c:v>
                </c:pt>
              </c:strCache>
            </c:strRef>
          </c:cat>
          <c:val>
            <c:numRef>
              <c:f>Sheet1!$E$2:$E$6</c:f>
              <c:numCache>
                <c:formatCode>General</c:formatCode>
                <c:ptCount val="5"/>
                <c:pt idx="0">
                  <c:v>4.4103000000000003</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E92E61-558A-40EE-8CEA-2B514F25D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D37909-3DE7-44CC-99CA-11CA71925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37AD9C4-D11E-4B99-8D32-BD7AA86957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9067D1A-6F15-45FA-8AD4-F5F0DB6964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EA637FF-AD3B-4378-8F6D-FE22CB4DE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80B075-6287-4440-A7C0-AB10E8D915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B5EFEBC-E769-44FE-A1EF-60B4113D3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158CBF0-894B-4505-92C9-3FAB86B14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2044999999999999</c:v>
                </c:pt>
                <c:pt idx="1">
                  <c:v>2.6366000000000001</c:v>
                </c:pt>
                <c:pt idx="2">
                  <c:v>3.2170999999999998</c:v>
                </c:pt>
                <c:pt idx="3">
                  <c:v>2.5398000000000001</c:v>
                </c:pt>
                <c:pt idx="4">
                  <c:v>2.9603000000000002</c:v>
                </c:pt>
                <c:pt idx="5">
                  <c:v>2.7498999999999998</c:v>
                </c:pt>
                <c:pt idx="6">
                  <c:v>3.6238000000000001</c:v>
                </c:pt>
                <c:pt idx="7">
                  <c:v>3.3898000000000001</c:v>
                </c:pt>
                <c:pt idx="8">
                  <c:v>2.5404</c:v>
                </c:pt>
              </c:numCache>
            </c:numRef>
          </c:xVal>
          <c:yVal>
            <c:numRef>
              <c:f>Sheet1!$B$2:$B$10</c:f>
              <c:numCache>
                <c:formatCode>General</c:formatCode>
                <c:ptCount val="9"/>
                <c:pt idx="0">
                  <c:v>0.85</c:v>
                </c:pt>
                <c:pt idx="1">
                  <c:v>0.92800000000000005</c:v>
                </c:pt>
                <c:pt idx="2">
                  <c:v>1.296</c:v>
                </c:pt>
                <c:pt idx="3">
                  <c:v>1.1819999999999999</c:v>
                </c:pt>
                <c:pt idx="4">
                  <c:v>1.1459999999999999</c:v>
                </c:pt>
                <c:pt idx="5">
                  <c:v>1.0920000000000001</c:v>
                </c:pt>
                <c:pt idx="6">
                  <c:v>1.151</c:v>
                </c:pt>
                <c:pt idx="7">
                  <c:v>1.19</c:v>
                </c:pt>
                <c:pt idx="8">
                  <c:v>0.754</c:v>
                </c:pt>
              </c:numCache>
            </c:numRef>
          </c:yVal>
          <c:bubbleSize>
            <c:numRef>
              <c:f>Sheet1!$C$2:$C$10</c:f>
              <c:numCache>
                <c:formatCode>General</c:formatCode>
                <c:ptCount val="9"/>
                <c:pt idx="0">
                  <c:v>160601106</c:v>
                </c:pt>
                <c:pt idx="1">
                  <c:v>25846068</c:v>
                </c:pt>
                <c:pt idx="2">
                  <c:v>14772179</c:v>
                </c:pt>
                <c:pt idx="3">
                  <c:v>13917161</c:v>
                </c:pt>
                <c:pt idx="4">
                  <c:v>9429711</c:v>
                </c:pt>
                <c:pt idx="5">
                  <c:v>9122536</c:v>
                </c:pt>
                <c:pt idx="6">
                  <c:v>8436176</c:v>
                </c:pt>
                <c:pt idx="7">
                  <c:v>7436715</c:v>
                </c:pt>
                <c:pt idx="8">
                  <c:v>6619006</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Entremont</c:v>
                  </c:pt>
                  <c:pt idx="3">
                    <c:v>Galbani</c:v>
                  </c:pt>
                  <c:pt idx="4">
                    <c:v>St Moret</c:v>
                  </c:pt>
                  <c:pt idx="5">
                    <c:v>Soignon</c:v>
                  </c:pt>
                  <c:pt idx="6">
                    <c:v>Leerdammer</c:v>
                  </c:pt>
                  <c:pt idx="7">
                    <c:v>Caprice Des Dieux</c:v>
                  </c:pt>
                  <c:pt idx="8">
                    <c:v>Coeur De L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President</c:v>
                </c:pt>
                <c:pt idx="2">
                  <c:v>La Belle Etoile</c:v>
                </c:pt>
                <c:pt idx="3">
                  <c:v>All Others</c:v>
                </c:pt>
                <c:pt idx="4">
                  <c:v>Raguin</c:v>
                </c:pt>
                <c:pt idx="5">
                  <c:v>Boursin</c:v>
                </c:pt>
                <c:pt idx="6">
                  <c:v>Les Mousquetaires: All Others</c:v>
                </c:pt>
                <c:pt idx="7">
                  <c:v>Milleret: All Others</c:v>
                </c:pt>
              </c:strCache>
            </c:strRef>
          </c:cat>
          <c:val>
            <c:numRef>
              <c:f>Sheet1!$B$2:$B$9</c:f>
              <c:numCache>
                <c:formatCode>General</c:formatCode>
                <c:ptCount val="8"/>
                <c:pt idx="0">
                  <c:v>1.2685</c:v>
                </c:pt>
                <c:pt idx="1">
                  <c:v>1.645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2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President</c:v>
                </c:pt>
                <c:pt idx="2">
                  <c:v>La Belle Etoile</c:v>
                </c:pt>
                <c:pt idx="3">
                  <c:v>All Others</c:v>
                </c:pt>
                <c:pt idx="4">
                  <c:v>Raguin</c:v>
                </c:pt>
                <c:pt idx="5">
                  <c:v>Boursin</c:v>
                </c:pt>
                <c:pt idx="6">
                  <c:v>Les Mousquetaires: All Others</c:v>
                </c:pt>
                <c:pt idx="7">
                  <c:v>Milleret: All Others</c:v>
                </c:pt>
              </c:strCache>
            </c:strRef>
          </c:cat>
          <c:val>
            <c:numRef>
              <c:f>Sheet1!$C$2:$C$9</c:f>
              <c:numCache>
                <c:formatCode>General</c:formatCode>
                <c:ptCount val="8"/>
                <c:pt idx="3">
                  <c:v>2.2764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President</c:v>
                </c:pt>
                <c:pt idx="2">
                  <c:v>La Belle Etoile</c:v>
                </c:pt>
                <c:pt idx="3">
                  <c:v>All Others</c:v>
                </c:pt>
                <c:pt idx="4">
                  <c:v>Raguin</c:v>
                </c:pt>
                <c:pt idx="5">
                  <c:v>Boursin</c:v>
                </c:pt>
                <c:pt idx="6">
                  <c:v>Les Mousquetaires: All Others</c:v>
                </c:pt>
                <c:pt idx="7">
                  <c:v>Milleret: All Others</c:v>
                </c:pt>
              </c:strCache>
            </c:strRef>
          </c:cat>
          <c:val>
            <c:numRef>
              <c:f>Sheet1!$D$2:$D$9</c:f>
              <c:numCache>
                <c:formatCode>General</c:formatCode>
                <c:ptCount val="8"/>
                <c:pt idx="5">
                  <c:v>2.7090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President</c:v>
                </c:pt>
                <c:pt idx="2">
                  <c:v>La Belle Etoile</c:v>
                </c:pt>
                <c:pt idx="3">
                  <c:v>All Others</c:v>
                </c:pt>
                <c:pt idx="4">
                  <c:v>Raguin</c:v>
                </c:pt>
                <c:pt idx="5">
                  <c:v>Boursin</c:v>
                </c:pt>
                <c:pt idx="6">
                  <c:v>Les Mousquetaires: All Others</c:v>
                </c:pt>
                <c:pt idx="7">
                  <c:v>Milleret: All Others</c:v>
                </c:pt>
              </c:strCache>
            </c:strRef>
          </c:cat>
          <c:val>
            <c:numRef>
              <c:f>Sheet1!$E$2:$E$9</c:f>
              <c:numCache>
                <c:formatCode>General</c:formatCode>
                <c:ptCount val="8"/>
                <c:pt idx="0">
                  <c:v>2.0596000000000001</c:v>
                </c:pt>
                <c:pt idx="4">
                  <c:v>2.7054</c:v>
                </c:pt>
                <c:pt idx="7">
                  <c:v>2.7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4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President</c:v>
                </c:pt>
                <c:pt idx="2">
                  <c:v>La Belle Etoile</c:v>
                </c:pt>
                <c:pt idx="3">
                  <c:v>All Others</c:v>
                </c:pt>
                <c:pt idx="4">
                  <c:v>Raguin</c:v>
                </c:pt>
                <c:pt idx="5">
                  <c:v>Boursin</c:v>
                </c:pt>
                <c:pt idx="6">
                  <c:v>Les Mousquetaires: All Others</c:v>
                </c:pt>
                <c:pt idx="7">
                  <c:v>Milleret: All Others</c:v>
                </c:pt>
              </c:strCache>
            </c:strRef>
          </c:cat>
          <c:val>
            <c:numRef>
              <c:f>Sheet1!$F$2:$F$9</c:f>
              <c:numCache>
                <c:formatCode>General</c:formatCode>
                <c:ptCount val="8"/>
                <c:pt idx="0">
                  <c:v>2.0379</c:v>
                </c:pt>
                <c:pt idx="1">
                  <c:v>2.859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President</c:v>
                </c:pt>
                <c:pt idx="2">
                  <c:v>La Belle Etoile</c:v>
                </c:pt>
                <c:pt idx="3">
                  <c:v>All Others</c:v>
                </c:pt>
                <c:pt idx="4">
                  <c:v>Raguin</c:v>
                </c:pt>
                <c:pt idx="5">
                  <c:v>Boursin</c:v>
                </c:pt>
                <c:pt idx="6">
                  <c:v>Les Mousquetaires: All Others</c:v>
                </c:pt>
                <c:pt idx="7">
                  <c:v>Milleret: All Others</c:v>
                </c:pt>
              </c:strCache>
            </c:strRef>
          </c:cat>
          <c:val>
            <c:numRef>
              <c:f>Sheet1!$G$2:$G$9</c:f>
              <c:numCache>
                <c:formatCode>General</c:formatCode>
                <c:ptCount val="8"/>
                <c:pt idx="6">
                  <c:v>2.4881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President</c:v>
                </c:pt>
                <c:pt idx="2">
                  <c:v>La Belle Etoile</c:v>
                </c:pt>
                <c:pt idx="3">
                  <c:v>All Others</c:v>
                </c:pt>
                <c:pt idx="4">
                  <c:v>Raguin</c:v>
                </c:pt>
                <c:pt idx="5">
                  <c:v>Boursin</c:v>
                </c:pt>
                <c:pt idx="6">
                  <c:v>Les Mousquetaires: All Others</c:v>
                </c:pt>
                <c:pt idx="7">
                  <c:v>Milleret: All Others</c:v>
                </c:pt>
              </c:strCache>
            </c:strRef>
          </c:cat>
          <c:val>
            <c:numRef>
              <c:f>Sheet1!$H$2:$H$9</c:f>
              <c:numCache>
                <c:formatCode>General</c:formatCode>
                <c:ptCount val="8"/>
                <c:pt idx="2">
                  <c:v>5.2218999999999998</c:v>
                </c:pt>
                <c:pt idx="4">
                  <c:v>5.1833999999999998</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President</c:v>
                </c:pt>
                <c:pt idx="2">
                  <c:v>La Belle Etoile</c:v>
                </c:pt>
                <c:pt idx="3">
                  <c:v>All Others</c:v>
                </c:pt>
                <c:pt idx="4">
                  <c:v>Raguin</c:v>
                </c:pt>
                <c:pt idx="5">
                  <c:v>Boursin</c:v>
                </c:pt>
                <c:pt idx="6">
                  <c:v>Les Mousquetaires: All Others</c:v>
                </c:pt>
                <c:pt idx="7">
                  <c:v>Milleret: All Others</c:v>
                </c:pt>
              </c:strCache>
            </c:strRef>
          </c:cat>
          <c:val>
            <c:numRef>
              <c:f>Sheet1!$B$2:$B$9</c:f>
              <c:numCache>
                <c:formatCode>General</c:formatCode>
                <c:ptCount val="8"/>
                <c:pt idx="0">
                  <c:v>1.2685</c:v>
                </c:pt>
                <c:pt idx="1">
                  <c:v>1.645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2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President</c:v>
                </c:pt>
                <c:pt idx="2">
                  <c:v>La Belle Etoile</c:v>
                </c:pt>
                <c:pt idx="3">
                  <c:v>All Others</c:v>
                </c:pt>
                <c:pt idx="4">
                  <c:v>Raguin</c:v>
                </c:pt>
                <c:pt idx="5">
                  <c:v>Boursin</c:v>
                </c:pt>
                <c:pt idx="6">
                  <c:v>Les Mousquetaires: All Others</c:v>
                </c:pt>
                <c:pt idx="7">
                  <c:v>Milleret: All Others</c:v>
                </c:pt>
              </c:strCache>
            </c:strRef>
          </c:cat>
          <c:val>
            <c:numRef>
              <c:f>Sheet1!$C$2:$C$9</c:f>
              <c:numCache>
                <c:formatCode>General</c:formatCode>
                <c:ptCount val="8"/>
                <c:pt idx="3">
                  <c:v>2.2766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President</c:v>
                </c:pt>
                <c:pt idx="2">
                  <c:v>La Belle Etoile</c:v>
                </c:pt>
                <c:pt idx="3">
                  <c:v>All Others</c:v>
                </c:pt>
                <c:pt idx="4">
                  <c:v>Raguin</c:v>
                </c:pt>
                <c:pt idx="5">
                  <c:v>Boursin</c:v>
                </c:pt>
                <c:pt idx="6">
                  <c:v>Les Mousquetaires: All Others</c:v>
                </c:pt>
                <c:pt idx="7">
                  <c:v>Milleret: All Others</c:v>
                </c:pt>
              </c:strCache>
            </c:strRef>
          </c:cat>
          <c:val>
            <c:numRef>
              <c:f>Sheet1!$D$2:$D$9</c:f>
              <c:numCache>
                <c:formatCode>General</c:formatCode>
                <c:ptCount val="8"/>
                <c:pt idx="5">
                  <c:v>2.7090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President</c:v>
                </c:pt>
                <c:pt idx="2">
                  <c:v>La Belle Etoile</c:v>
                </c:pt>
                <c:pt idx="3">
                  <c:v>All Others</c:v>
                </c:pt>
                <c:pt idx="4">
                  <c:v>Raguin</c:v>
                </c:pt>
                <c:pt idx="5">
                  <c:v>Boursin</c:v>
                </c:pt>
                <c:pt idx="6">
                  <c:v>Les Mousquetaires: All Others</c:v>
                </c:pt>
                <c:pt idx="7">
                  <c:v>Milleret: All Others</c:v>
                </c:pt>
              </c:strCache>
            </c:strRef>
          </c:cat>
          <c:val>
            <c:numRef>
              <c:f>Sheet1!$E$2:$E$9</c:f>
              <c:numCache>
                <c:formatCode>General</c:formatCode>
                <c:ptCount val="8"/>
                <c:pt idx="0">
                  <c:v>2.0596000000000001</c:v>
                </c:pt>
                <c:pt idx="4">
                  <c:v>2.7058</c:v>
                </c:pt>
                <c:pt idx="7">
                  <c:v>2.71070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4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President</c:v>
                </c:pt>
                <c:pt idx="2">
                  <c:v>La Belle Etoile</c:v>
                </c:pt>
                <c:pt idx="3">
                  <c:v>All Others</c:v>
                </c:pt>
                <c:pt idx="4">
                  <c:v>Raguin</c:v>
                </c:pt>
                <c:pt idx="5">
                  <c:v>Boursin</c:v>
                </c:pt>
                <c:pt idx="6">
                  <c:v>Les Mousquetaires: All Others</c:v>
                </c:pt>
                <c:pt idx="7">
                  <c:v>Milleret: All Others</c:v>
                </c:pt>
              </c:strCache>
            </c:strRef>
          </c:cat>
          <c:val>
            <c:numRef>
              <c:f>Sheet1!$F$2:$F$9</c:f>
              <c:numCache>
                <c:formatCode>General</c:formatCode>
                <c:ptCount val="8"/>
                <c:pt idx="0">
                  <c:v>2.0379</c:v>
                </c:pt>
                <c:pt idx="1">
                  <c:v>2.859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President</c:v>
                </c:pt>
                <c:pt idx="2">
                  <c:v>La Belle Etoile</c:v>
                </c:pt>
                <c:pt idx="3">
                  <c:v>All Others</c:v>
                </c:pt>
                <c:pt idx="4">
                  <c:v>Raguin</c:v>
                </c:pt>
                <c:pt idx="5">
                  <c:v>Boursin</c:v>
                </c:pt>
                <c:pt idx="6">
                  <c:v>Les Mousquetaires: All Others</c:v>
                </c:pt>
                <c:pt idx="7">
                  <c:v>Milleret: All Others</c:v>
                </c:pt>
              </c:strCache>
            </c:strRef>
          </c:cat>
          <c:val>
            <c:numRef>
              <c:f>Sheet1!$G$2:$G$9</c:f>
              <c:numCache>
                <c:formatCode>General</c:formatCode>
                <c:ptCount val="8"/>
                <c:pt idx="6">
                  <c:v>2.4881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President</c:v>
                </c:pt>
                <c:pt idx="2">
                  <c:v>La Belle Etoile</c:v>
                </c:pt>
                <c:pt idx="3">
                  <c:v>All Others</c:v>
                </c:pt>
                <c:pt idx="4">
                  <c:v>Raguin</c:v>
                </c:pt>
                <c:pt idx="5">
                  <c:v>Boursin</c:v>
                </c:pt>
                <c:pt idx="6">
                  <c:v>Les Mousquetaires: All Others</c:v>
                </c:pt>
                <c:pt idx="7">
                  <c:v>Milleret: All Others</c:v>
                </c:pt>
              </c:strCache>
            </c:strRef>
          </c:cat>
          <c:val>
            <c:numRef>
              <c:f>Sheet1!$H$2:$H$9</c:f>
              <c:numCache>
                <c:formatCode>General</c:formatCode>
                <c:ptCount val="8"/>
                <c:pt idx="2">
                  <c:v>5.2225999999999999</c:v>
                </c:pt>
                <c:pt idx="4">
                  <c:v>5.1851000000000003</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32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Mini Babybel</c:v>
                </c:pt>
                <c:pt idx="1">
                  <c:v>La Vache Qui Rit</c:v>
                </c:pt>
                <c:pt idx="2">
                  <c:v>Kiri</c:v>
                </c:pt>
                <c:pt idx="3">
                  <c:v>Private Label</c:v>
                </c:pt>
                <c:pt idx="4">
                  <c:v>Ficello</c:v>
                </c:pt>
              </c:strCache>
            </c:strRef>
          </c:cat>
          <c:val>
            <c:numRef>
              <c:f>Sheet1!$B$2:$B$6</c:f>
              <c:numCache>
                <c:formatCode>General</c:formatCode>
                <c:ptCount val="5"/>
                <c:pt idx="0">
                  <c:v>2.45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44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C$2:$C$6</c:f>
              <c:numCache>
                <c:formatCode>General</c:formatCode>
                <c:ptCount val="5"/>
                <c:pt idx="2">
                  <c:v>2.2964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8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D$2:$D$6</c:f>
              <c:numCache>
                <c:formatCode>General</c:formatCode>
                <c:ptCount val="5"/>
                <c:pt idx="4">
                  <c:v>3.49339999999999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E$2:$E$6</c:f>
              <c:numCache>
                <c:formatCode>General</c:formatCode>
                <c:ptCount val="5"/>
                <c:pt idx="1">
                  <c:v>2.3913000000000002</c:v>
                </c:pt>
                <c:pt idx="2">
                  <c:v>2.30039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F$2:$F$6</c:f>
              <c:numCache>
                <c:formatCode>General</c:formatCode>
                <c:ptCount val="5"/>
                <c:pt idx="0">
                  <c:v>3.306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92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Mini Babybel</c:v>
                </c:pt>
                <c:pt idx="1">
                  <c:v>La Vache Qui Rit</c:v>
                </c:pt>
                <c:pt idx="2">
                  <c:v>Kiri</c:v>
                </c:pt>
                <c:pt idx="3">
                  <c:v>Private Label</c:v>
                </c:pt>
                <c:pt idx="4">
                  <c:v>Ficello</c:v>
                </c:pt>
              </c:strCache>
            </c:strRef>
          </c:cat>
          <c:val>
            <c:numRef>
              <c:f>Sheet1!$G$2:$G$6</c:f>
              <c:numCache>
                <c:formatCode>General</c:formatCode>
                <c:ptCount val="5"/>
                <c:pt idx="1">
                  <c:v>2.6150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6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Mini Babybel</c:v>
                </c:pt>
                <c:pt idx="1">
                  <c:v>La Vache Qui Rit</c:v>
                </c:pt>
                <c:pt idx="2">
                  <c:v>Kiri</c:v>
                </c:pt>
                <c:pt idx="3">
                  <c:v>Private Label</c:v>
                </c:pt>
                <c:pt idx="4">
                  <c:v>Ficello</c:v>
                </c:pt>
              </c:strCache>
            </c:strRef>
          </c:cat>
          <c:val>
            <c:numRef>
              <c:f>Sheet1!$H$2:$H$6</c:f>
              <c:numCache>
                <c:formatCode>General</c:formatCode>
                <c:ptCount val="5"/>
                <c:pt idx="2">
                  <c:v>2.8454000000000002</c:v>
                </c:pt>
                <c:pt idx="3">
                  <c:v>1.8655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2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I$2:$I$6</c:f>
              <c:numCache>
                <c:formatCode>General</c:formatCode>
                <c:ptCount val="5"/>
                <c:pt idx="0">
                  <c:v>4.278299999999999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4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Mini Babybel</c:v>
                </c:pt>
                <c:pt idx="1">
                  <c:v>La Vache Qui Rit</c:v>
                </c:pt>
                <c:pt idx="2">
                  <c:v>Kiri</c:v>
                </c:pt>
                <c:pt idx="3">
                  <c:v>Private Label</c:v>
                </c:pt>
                <c:pt idx="4">
                  <c:v>Ficello</c:v>
                </c:pt>
              </c:strCache>
            </c:strRef>
          </c:cat>
          <c:val>
            <c:numRef>
              <c:f>Sheet1!$J$2:$J$6</c:f>
              <c:numCache>
                <c:formatCode>General</c:formatCode>
                <c:ptCount val="5"/>
                <c:pt idx="3">
                  <c:v>2.017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56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K$2:$K$6</c:f>
              <c:numCache>
                <c:formatCode>General</c:formatCode>
                <c:ptCount val="5"/>
                <c:pt idx="1">
                  <c:v>2.872799999999999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64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L$2:$L$6</c:f>
              <c:numCache>
                <c:formatCode>General</c:formatCode>
                <c:ptCount val="5"/>
                <c:pt idx="0">
                  <c:v>4.219000000000000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8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Mini Babybel</c:v>
                </c:pt>
                <c:pt idx="1">
                  <c:v>La Vache Qui Rit</c:v>
                </c:pt>
                <c:pt idx="2">
                  <c:v>Kiri</c:v>
                </c:pt>
                <c:pt idx="3">
                  <c:v>Private Label</c:v>
                </c:pt>
                <c:pt idx="4">
                  <c:v>Ficello</c:v>
                </c:pt>
              </c:strCache>
            </c:strRef>
          </c:cat>
          <c:val>
            <c:numRef>
              <c:f>Sheet1!$M$2:$M$6</c:f>
              <c:numCache>
                <c:formatCode>General</c:formatCode>
                <c:ptCount val="5"/>
                <c:pt idx="1">
                  <c:v>3.6049000000000002</c:v>
                </c:pt>
                <c:pt idx="2">
                  <c:v>3.589799999999999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52GR</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N$2:$N$6</c:f>
              <c:numCache>
                <c:formatCode>General</c:formatCode>
                <c:ptCount val="5"/>
                <c:pt idx="0">
                  <c:v>5.8667999999999996</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O$2:$O$6</c:f>
              <c:numCache>
                <c:formatCode>General</c:formatCode>
                <c:ptCount val="5"/>
                <c:pt idx="1">
                  <c:v>3.7115999999999998</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P$2:$P$6</c:f>
              <c:numCache>
                <c:formatCode>General</c:formatCode>
                <c:ptCount val="5"/>
                <c:pt idx="3">
                  <c:v>2.5575000000000001</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Q$2:$Q$6</c:f>
              <c:numCache>
                <c:formatCode>General</c:formatCode>
                <c:ptCount val="5"/>
                <c:pt idx="2">
                  <c:v>4.7747999999999999</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4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R$2:$R$6</c:f>
              <c:numCache>
                <c:formatCode>General</c:formatCode>
                <c:ptCount val="5"/>
                <c:pt idx="0">
                  <c:v>7.5186000000000002</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S$2:$S$6</c:f>
              <c:numCache>
                <c:formatCode>General</c:formatCode>
                <c:ptCount val="5"/>
                <c:pt idx="1">
                  <c:v>4.4577999999999998</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T$2:$T$6</c:f>
              <c:numCache>
                <c:formatCode>General</c:formatCode>
                <c:ptCount val="5"/>
                <c:pt idx="4">
                  <c:v>2.124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8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B$2:$B$7</c:f>
              <c:numCache>
                <c:formatCode>General</c:formatCode>
                <c:ptCount val="6"/>
                <c:pt idx="0">
                  <c:v>2.0076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2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C$2:$C$7</c:f>
              <c:numCache>
                <c:formatCode>General</c:formatCode>
                <c:ptCount val="6"/>
                <c:pt idx="1">
                  <c:v>2.6032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D$2:$D$7</c:f>
              <c:numCache>
                <c:formatCode>General</c:formatCode>
                <c:ptCount val="6"/>
                <c:pt idx="3">
                  <c:v>1.2051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4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E$2:$E$7</c:f>
              <c:numCache>
                <c:formatCode>General</c:formatCode>
                <c:ptCount val="6"/>
                <c:pt idx="2">
                  <c:v>2.30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F$2:$F$7</c:f>
              <c:numCache>
                <c:formatCode>General</c:formatCode>
                <c:ptCount val="6"/>
                <c:pt idx="5">
                  <c:v>2.955299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68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G$2:$G$7</c:f>
              <c:numCache>
                <c:formatCode>General</c:formatCode>
                <c:ptCount val="6"/>
                <c:pt idx="4">
                  <c:v>3.47869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5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H$2:$H$7</c:f>
              <c:numCache>
                <c:formatCode>General</c:formatCode>
                <c:ptCount val="6"/>
                <c:pt idx="0">
                  <c:v>2.1873</c:v>
                </c:pt>
                <c:pt idx="2">
                  <c:v>2.2370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92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I$2:$I$7</c:f>
              <c:numCache>
                <c:formatCode>General</c:formatCode>
                <c:ptCount val="6"/>
                <c:pt idx="0">
                  <c:v>2.778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16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J$2:$J$7</c:f>
              <c:numCache>
                <c:formatCode>General</c:formatCode>
                <c:ptCount val="6"/>
                <c:pt idx="2">
                  <c:v>2.999699999999999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K$2:$K$7</c:f>
              <c:numCache>
                <c:formatCode>General</c:formatCode>
                <c:ptCount val="6"/>
                <c:pt idx="3">
                  <c:v>2.120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64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L$2:$L$7</c:f>
              <c:numCache>
                <c:formatCode>General</c:formatCode>
                <c:ptCount val="6"/>
                <c:pt idx="1">
                  <c:v>4.136199999999999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8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M$2:$M$7</c:f>
              <c:numCache>
                <c:formatCode>General</c:formatCode>
                <c:ptCount val="6"/>
                <c:pt idx="2">
                  <c:v>3.622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52GR</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N$2:$N$7</c:f>
              <c:numCache>
                <c:formatCode>General</c:formatCode>
                <c:ptCount val="6"/>
                <c:pt idx="1">
                  <c:v>5.8654000000000002</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O$2:$O$7</c:f>
              <c:numCache>
                <c:formatCode>General</c:formatCode>
                <c:ptCount val="6"/>
                <c:pt idx="0">
                  <c:v>3.544900000000000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P$2:$P$7</c:f>
              <c:numCache>
                <c:formatCode>General</c:formatCode>
                <c:ptCount val="6"/>
                <c:pt idx="3">
                  <c:v>2.762300000000000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Q$2:$Q$7</c:f>
              <c:numCache>
                <c:formatCode>General</c:formatCode>
                <c:ptCount val="6"/>
                <c:pt idx="2">
                  <c:v>4.3026</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4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R$2:$R$7</c:f>
              <c:numCache>
                <c:formatCode>General</c:formatCode>
                <c:ptCount val="6"/>
                <c:pt idx="1">
                  <c:v>6.9686000000000003</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S$2:$S$7</c:f>
              <c:numCache>
                <c:formatCode>General</c:formatCode>
                <c:ptCount val="6"/>
                <c:pt idx="0">
                  <c:v>4.2591000000000001</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533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T$2:$T$7</c:f>
              <c:numCache>
                <c:formatCode>General</c:formatCode>
                <c:ptCount val="6"/>
                <c:pt idx="3">
                  <c:v>3.5525000000000002</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U$2:$U$7</c:f>
              <c:numCache>
                <c:formatCode>General</c:formatCode>
                <c:ptCount val="6"/>
                <c:pt idx="4">
                  <c:v>2.2492000000000001</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32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B$2:$B$7</c:f>
              <c:numCache>
                <c:formatCode>General</c:formatCode>
                <c:ptCount val="6"/>
                <c:pt idx="1">
                  <c:v>2.3502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44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C$2:$C$7</c:f>
              <c:numCache>
                <c:formatCode>General</c:formatCode>
                <c:ptCount val="6"/>
                <c:pt idx="2">
                  <c:v>2.2570999999999999</c:v>
                </c:pt>
                <c:pt idx="3">
                  <c:v>1.864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8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D$2:$D$7</c:f>
              <c:numCache>
                <c:formatCode>General</c:formatCode>
                <c:ptCount val="6"/>
                <c:pt idx="4">
                  <c:v>3.5316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E$2:$E$7</c:f>
              <c:numCache>
                <c:formatCode>General</c:formatCode>
                <c:ptCount val="6"/>
                <c:pt idx="0">
                  <c:v>2.5316999999999998</c:v>
                </c:pt>
                <c:pt idx="2">
                  <c:v>2.36339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F$2:$F$7</c:f>
              <c:numCache>
                <c:formatCode>General</c:formatCode>
                <c:ptCount val="6"/>
                <c:pt idx="1">
                  <c:v>4.10890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92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G$2:$G$7</c:f>
              <c:numCache>
                <c:formatCode>General</c:formatCode>
                <c:ptCount val="6"/>
                <c:pt idx="0">
                  <c:v>2.50369999999999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H$2:$H$7</c:f>
              <c:numCache>
                <c:formatCode>General</c:formatCode>
                <c:ptCount val="6"/>
                <c:pt idx="3">
                  <c:v>1.7083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16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I$2:$I$7</c:f>
              <c:numCache>
                <c:formatCode>General</c:formatCode>
                <c:ptCount val="6"/>
                <c:pt idx="2">
                  <c:v>2.8744000000000001</c:v>
                </c:pt>
                <c:pt idx="3">
                  <c:v>1.868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4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J$2:$J$7</c:f>
              <c:numCache>
                <c:formatCode>General</c:formatCode>
                <c:ptCount val="6"/>
                <c:pt idx="5">
                  <c:v>3.653900000000000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64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K$2:$K$7</c:f>
              <c:numCache>
                <c:formatCode>General</c:formatCode>
                <c:ptCount val="6"/>
                <c:pt idx="1">
                  <c:v>4.360100000000000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67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L$2:$L$7</c:f>
              <c:numCache>
                <c:formatCode>General</c:formatCode>
                <c:ptCount val="6"/>
                <c:pt idx="0">
                  <c:v>3.291599999999999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8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M$2:$M$7</c:f>
              <c:numCache>
                <c:formatCode>General</c:formatCode>
                <c:ptCount val="6"/>
                <c:pt idx="0">
                  <c:v>3.9445000000000001</c:v>
                </c:pt>
                <c:pt idx="2">
                  <c:v>3.6638000000000002</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84GR</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N$2:$N$7</c:f>
              <c:numCache>
                <c:formatCode>General</c:formatCode>
                <c:ptCount val="6"/>
                <c:pt idx="0">
                  <c:v>4.000099999999999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O$2:$O$7</c:f>
              <c:numCache>
                <c:formatCode>General</c:formatCode>
                <c:ptCount val="6"/>
                <c:pt idx="3">
                  <c:v>2.6778</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P$2:$P$7</c:f>
              <c:numCache>
                <c:formatCode>General</c:formatCode>
                <c:ptCount val="6"/>
                <c:pt idx="2">
                  <c:v>4.983799999999999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Q$2:$Q$7</c:f>
              <c:numCache>
                <c:formatCode>General</c:formatCode>
                <c:ptCount val="6"/>
                <c:pt idx="0">
                  <c:v>4.9005000000000001</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R$2:$R$7</c:f>
              <c:numCache>
                <c:formatCode>General</c:formatCode>
                <c:ptCount val="6"/>
                <c:pt idx="4">
                  <c:v>2.155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B$2:$B$9</c:f>
              <c:numCache>
                <c:formatCode>General</c:formatCode>
                <c:ptCount val="8"/>
                <c:pt idx="7">
                  <c:v>1.63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C$2:$C$9</c:f>
              <c:numCache>
                <c:formatCode>General</c:formatCode>
                <c:ptCount val="8"/>
                <c:pt idx="0">
                  <c:v>2.3248000000000002</c:v>
                </c:pt>
                <c:pt idx="1">
                  <c:v>1.2050000000000001</c:v>
                </c:pt>
                <c:pt idx="2">
                  <c:v>1.8984000000000001</c:v>
                </c:pt>
                <c:pt idx="3">
                  <c:v>2.0310000000000001</c:v>
                </c:pt>
                <c:pt idx="4">
                  <c:v>2.2145999999999999</c:v>
                </c:pt>
                <c:pt idx="6">
                  <c:v>2.0575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D$2:$D$9</c:f>
              <c:numCache>
                <c:formatCode>General</c:formatCode>
                <c:ptCount val="8"/>
                <c:pt idx="3">
                  <c:v>2.0274000000000001</c:v>
                </c:pt>
                <c:pt idx="4">
                  <c:v>2.4866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E$2:$E$9</c:f>
              <c:numCache>
                <c:formatCode>General</c:formatCode>
                <c:ptCount val="8"/>
                <c:pt idx="0">
                  <c:v>2.2820999999999998</c:v>
                </c:pt>
                <c:pt idx="2">
                  <c:v>2.12970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F$2:$F$9</c:f>
              <c:numCache>
                <c:formatCode>General</c:formatCode>
                <c:ptCount val="8"/>
                <c:pt idx="5">
                  <c:v>2.411099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G$2:$G$9</c:f>
              <c:numCache>
                <c:formatCode>General</c:formatCode>
                <c:ptCount val="8"/>
                <c:pt idx="1">
                  <c:v>2.1366000000000001</c:v>
                </c:pt>
                <c:pt idx="3">
                  <c:v>2.7221000000000002</c:v>
                </c:pt>
                <c:pt idx="4">
                  <c:v>3.3595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75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H$2:$H$9</c:f>
              <c:numCache>
                <c:formatCode>General</c:formatCode>
                <c:ptCount val="8"/>
                <c:pt idx="2">
                  <c:v>3.0510000000000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I$2:$I$9</c:f>
              <c:numCache>
                <c:formatCode>General</c:formatCode>
                <c:ptCount val="8"/>
                <c:pt idx="0">
                  <c:v>3.4746000000000001</c:v>
                </c:pt>
                <c:pt idx="1">
                  <c:v>1.8822000000000001</c:v>
                </c:pt>
                <c:pt idx="6">
                  <c:v>3.210999999999999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2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J$2:$J$9</c:f>
              <c:numCache>
                <c:formatCode>General</c:formatCode>
                <c:ptCount val="8"/>
                <c:pt idx="2">
                  <c:v>3.309200000000000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K$2:$K$9</c:f>
              <c:numCache>
                <c:formatCode>General</c:formatCode>
                <c:ptCount val="8"/>
                <c:pt idx="0">
                  <c:v>4.535599999999999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6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L$2:$L$9</c:f>
              <c:numCache>
                <c:formatCode>General</c:formatCode>
                <c:ptCount val="8"/>
                <c:pt idx="2">
                  <c:v>4.574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0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M$2:$M$9</c:f>
              <c:numCache>
                <c:formatCode>General</c:formatCode>
                <c:ptCount val="8"/>
                <c:pt idx="0">
                  <c:v>5.2640000000000002</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B$2:$B$9</c:f>
              <c:numCache>
                <c:formatCode>General</c:formatCode>
                <c:ptCount val="8"/>
                <c:pt idx="7">
                  <c:v>1.7345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C$2:$C$9</c:f>
              <c:numCache>
                <c:formatCode>General</c:formatCode>
                <c:ptCount val="8"/>
                <c:pt idx="0">
                  <c:v>2.4662000000000002</c:v>
                </c:pt>
                <c:pt idx="1">
                  <c:v>1.9454</c:v>
                </c:pt>
                <c:pt idx="2">
                  <c:v>1.4278</c:v>
                </c:pt>
                <c:pt idx="3">
                  <c:v>2.1442000000000001</c:v>
                </c:pt>
                <c:pt idx="4">
                  <c:v>2.3616000000000001</c:v>
                </c:pt>
                <c:pt idx="6">
                  <c:v>2.2008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D$2:$D$9</c:f>
              <c:numCache>
                <c:formatCode>General</c:formatCode>
                <c:ptCount val="8"/>
                <c:pt idx="3">
                  <c:v>2.1482999999999999</c:v>
                </c:pt>
                <c:pt idx="4">
                  <c:v>2.59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E$2:$E$9</c:f>
              <c:numCache>
                <c:formatCode>General</c:formatCode>
                <c:ptCount val="8"/>
                <c:pt idx="0">
                  <c:v>2.4904999999999999</c:v>
                </c:pt>
                <c:pt idx="1">
                  <c:v>2.19039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F$2:$F$9</c:f>
              <c:numCache>
                <c:formatCode>General</c:formatCode>
                <c:ptCount val="8"/>
                <c:pt idx="5">
                  <c:v>2.41869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5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G$2:$G$9</c:f>
              <c:numCache>
                <c:formatCode>General</c:formatCode>
                <c:ptCount val="8"/>
                <c:pt idx="0">
                  <c:v>3.21839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H$2:$H$9</c:f>
              <c:numCache>
                <c:formatCode>General</c:formatCode>
                <c:ptCount val="8"/>
                <c:pt idx="2">
                  <c:v>2.1453000000000002</c:v>
                </c:pt>
                <c:pt idx="3">
                  <c:v>2.7766999999999999</c:v>
                </c:pt>
                <c:pt idx="4">
                  <c:v>3.423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I$2:$I$9</c:f>
              <c:numCache>
                <c:formatCode>General</c:formatCode>
                <c:ptCount val="8"/>
                <c:pt idx="0">
                  <c:v>3.5642</c:v>
                </c:pt>
                <c:pt idx="2">
                  <c:v>1.986</c:v>
                </c:pt>
                <c:pt idx="6">
                  <c:v>3.027600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2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J$2:$J$9</c:f>
              <c:numCache>
                <c:formatCode>General</c:formatCode>
                <c:ptCount val="8"/>
                <c:pt idx="1">
                  <c:v>3.176099999999999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K$2:$K$9</c:f>
              <c:numCache>
                <c:formatCode>General</c:formatCode>
                <c:ptCount val="8"/>
                <c:pt idx="0">
                  <c:v>4.589000000000000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6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L$2:$L$9</c:f>
              <c:numCache>
                <c:formatCode>General</c:formatCode>
                <c:ptCount val="8"/>
                <c:pt idx="1">
                  <c:v>4.4885000000000002</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0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M$2:$M$9</c:f>
              <c:numCache>
                <c:formatCode>General</c:formatCode>
                <c:ptCount val="8"/>
                <c:pt idx="0">
                  <c:v>4.9659000000000004</c:v>
                </c:pt>
                <c:pt idx="6">
                  <c:v>5.067199999999999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6GR</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N$2:$N$9</c:f>
              <c:numCache>
                <c:formatCode>General</c:formatCode>
                <c:ptCount val="8"/>
                <c:pt idx="3">
                  <c:v>2.0813999999999999</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B$2:$B$8</c:f>
              <c:numCache>
                <c:formatCode>General</c:formatCode>
                <c:ptCount val="7"/>
                <c:pt idx="3">
                  <c:v>2.4085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C$2:$C$8</c:f>
              <c:numCache>
                <c:formatCode>General</c:formatCode>
                <c:ptCount val="7"/>
                <c:pt idx="0">
                  <c:v>2.3075999999999999</c:v>
                </c:pt>
                <c:pt idx="1">
                  <c:v>1.2365999999999999</c:v>
                </c:pt>
                <c:pt idx="2">
                  <c:v>1.8753</c:v>
                </c:pt>
                <c:pt idx="3">
                  <c:v>2.3128000000000002</c:v>
                </c:pt>
                <c:pt idx="4">
                  <c:v>2.1031</c:v>
                </c:pt>
                <c:pt idx="6">
                  <c:v>1.860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D$2:$D$8</c:f>
              <c:numCache>
                <c:formatCode>General</c:formatCode>
                <c:ptCount val="7"/>
                <c:pt idx="3">
                  <c:v>2.5045999999999999</c:v>
                </c:pt>
                <c:pt idx="4">
                  <c:v>2.0388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E$2:$E$8</c:f>
              <c:numCache>
                <c:formatCode>General</c:formatCode>
                <c:ptCount val="7"/>
                <c:pt idx="0">
                  <c:v>2.2938000000000001</c:v>
                </c:pt>
                <c:pt idx="2">
                  <c:v>2.086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F$2:$F$8</c:f>
              <c:numCache>
                <c:formatCode>General</c:formatCode>
                <c:ptCount val="7"/>
                <c:pt idx="5">
                  <c:v>2.4405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G$2:$G$8</c:f>
              <c:numCache>
                <c:formatCode>General</c:formatCode>
                <c:ptCount val="7"/>
                <c:pt idx="1">
                  <c:v>2.1135000000000002</c:v>
                </c:pt>
                <c:pt idx="3">
                  <c:v>3.4291999999999998</c:v>
                </c:pt>
                <c:pt idx="4">
                  <c:v>2.824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75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H$2:$H$8</c:f>
              <c:numCache>
                <c:formatCode>General</c:formatCode>
                <c:ptCount val="7"/>
                <c:pt idx="2">
                  <c:v>3.079400000000000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I$2:$I$8</c:f>
              <c:numCache>
                <c:formatCode>General</c:formatCode>
                <c:ptCount val="7"/>
                <c:pt idx="0">
                  <c:v>3.6204000000000001</c:v>
                </c:pt>
                <c:pt idx="1">
                  <c:v>1.8689</c:v>
                </c:pt>
                <c:pt idx="6">
                  <c:v>3.316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2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J$2:$J$8</c:f>
              <c:numCache>
                <c:formatCode>General</c:formatCode>
                <c:ptCount val="7"/>
                <c:pt idx="2">
                  <c:v>3.363799999999999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K$2:$K$8</c:f>
              <c:numCache>
                <c:formatCode>General</c:formatCode>
                <c:ptCount val="7"/>
                <c:pt idx="0">
                  <c:v>4.493699999999999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6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L$2:$L$8</c:f>
              <c:numCache>
                <c:formatCode>General</c:formatCode>
                <c:ptCount val="7"/>
                <c:pt idx="2">
                  <c:v>4.6205999999999996</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B$2:$B$8</c:f>
              <c:numCache>
                <c:formatCode>General</c:formatCode>
                <c:ptCount val="7"/>
                <c:pt idx="0">
                  <c:v>2.4811000000000001</c:v>
                </c:pt>
                <c:pt idx="2">
                  <c:v>2.3740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C$2:$C$8</c:f>
              <c:numCache>
                <c:formatCode>General</c:formatCode>
                <c:ptCount val="7"/>
                <c:pt idx="0">
                  <c:v>2.1637</c:v>
                </c:pt>
                <c:pt idx="2">
                  <c:v>2.6143000000000001</c:v>
                </c:pt>
                <c:pt idx="6">
                  <c:v>2.25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D$2:$D$8</c:f>
              <c:numCache>
                <c:formatCode>General</c:formatCode>
                <c:ptCount val="7"/>
                <c:pt idx="0">
                  <c:v>1.3552999999999999</c:v>
                </c:pt>
                <c:pt idx="1">
                  <c:v>1.6195999999999999</c:v>
                </c:pt>
                <c:pt idx="2">
                  <c:v>2.6173999999999999</c:v>
                </c:pt>
                <c:pt idx="3">
                  <c:v>1.87349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E$2:$E$8</c:f>
              <c:numCache>
                <c:formatCode>General</c:formatCode>
                <c:ptCount val="7"/>
                <c:pt idx="0">
                  <c:v>2.1158000000000001</c:v>
                </c:pt>
                <c:pt idx="1">
                  <c:v>3.0081000000000002</c:v>
                </c:pt>
                <c:pt idx="3">
                  <c:v>2.6448</c:v>
                </c:pt>
                <c:pt idx="4">
                  <c:v>2.7412000000000001</c:v>
                </c:pt>
                <c:pt idx="5">
                  <c:v>2.73039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F$2:$F$8</c:f>
              <c:numCache>
                <c:formatCode>General</c:formatCode>
                <c:ptCount val="7"/>
                <c:pt idx="0">
                  <c:v>2.9548999999999999</c:v>
                </c:pt>
                <c:pt idx="2">
                  <c:v>3.8279999999999998</c:v>
                </c:pt>
                <c:pt idx="3">
                  <c:v>4.5377000000000001</c:v>
                </c:pt>
                <c:pt idx="4">
                  <c:v>2.78679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G$2:$G$8</c:f>
              <c:numCache>
                <c:formatCode>General</c:formatCode>
                <c:ptCount val="7"/>
                <c:pt idx="0">
                  <c:v>2.1955</c:v>
                </c:pt>
                <c:pt idx="1">
                  <c:v>2.6629999999999998</c:v>
                </c:pt>
                <c:pt idx="2">
                  <c:v>4.582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H$2:$H$8</c:f>
              <c:numCache>
                <c:formatCode>General</c:formatCode>
                <c:ptCount val="7"/>
                <c:pt idx="4">
                  <c:v>3.278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I$2:$I$8</c:f>
              <c:numCache>
                <c:formatCode>General</c:formatCode>
                <c:ptCount val="7"/>
                <c:pt idx="0">
                  <c:v>2.7784</c:v>
                </c:pt>
                <c:pt idx="1">
                  <c:v>3.606100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J$2:$J$8</c:f>
              <c:numCache>
                <c:formatCode>General</c:formatCode>
                <c:ptCount val="7"/>
                <c:pt idx="0">
                  <c:v>2.9847999999999999</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B$2:$B$8</c:f>
              <c:numCache>
                <c:formatCode>General</c:formatCode>
                <c:ptCount val="7"/>
                <c:pt idx="0">
                  <c:v>1.93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C$2:$C$8</c:f>
              <c:numCache>
                <c:formatCode>General</c:formatCode>
                <c:ptCount val="7"/>
                <c:pt idx="0">
                  <c:v>2.2292999999999998</c:v>
                </c:pt>
                <c:pt idx="1">
                  <c:v>2.5726</c:v>
                </c:pt>
                <c:pt idx="6">
                  <c:v>2.1617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D$2:$D$8</c:f>
              <c:numCache>
                <c:formatCode>General</c:formatCode>
                <c:ptCount val="7"/>
                <c:pt idx="0">
                  <c:v>1.4641999999999999</c:v>
                </c:pt>
                <c:pt idx="1">
                  <c:v>2.5653999999999999</c:v>
                </c:pt>
                <c:pt idx="2">
                  <c:v>1.716</c:v>
                </c:pt>
                <c:pt idx="3">
                  <c:v>2.0792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E$2:$E$8</c:f>
              <c:numCache>
                <c:formatCode>General</c:formatCode>
                <c:ptCount val="7"/>
                <c:pt idx="0">
                  <c:v>2.278</c:v>
                </c:pt>
                <c:pt idx="1">
                  <c:v>2.6852</c:v>
                </c:pt>
                <c:pt idx="2">
                  <c:v>2.7343000000000002</c:v>
                </c:pt>
                <c:pt idx="3">
                  <c:v>2.6842000000000001</c:v>
                </c:pt>
                <c:pt idx="4">
                  <c:v>2.8532999999999999</c:v>
                </c:pt>
                <c:pt idx="5">
                  <c:v>2.673700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F$2:$F$8</c:f>
              <c:numCache>
                <c:formatCode>General</c:formatCode>
                <c:ptCount val="7"/>
                <c:pt idx="0">
                  <c:v>2.9940000000000002</c:v>
                </c:pt>
                <c:pt idx="1">
                  <c:v>3.9521999999999999</c:v>
                </c:pt>
                <c:pt idx="3">
                  <c:v>4.3448000000000002</c:v>
                </c:pt>
                <c:pt idx="4">
                  <c:v>2.842699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G$2:$G$8</c:f>
              <c:numCache>
                <c:formatCode>General</c:formatCode>
                <c:ptCount val="7"/>
                <c:pt idx="0">
                  <c:v>2.2443</c:v>
                </c:pt>
                <c:pt idx="1">
                  <c:v>4.6402999999999999</c:v>
                </c:pt>
                <c:pt idx="2">
                  <c:v>2.80839999999999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H$2:$H$8</c:f>
              <c:numCache>
                <c:formatCode>General</c:formatCode>
                <c:ptCount val="7"/>
                <c:pt idx="3">
                  <c:v>5.0865</c:v>
                </c:pt>
                <c:pt idx="4">
                  <c:v>3.3010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I$2:$I$8</c:f>
              <c:numCache>
                <c:formatCode>General</c:formatCode>
                <c:ptCount val="7"/>
                <c:pt idx="0">
                  <c:v>2.7262</c:v>
                </c:pt>
                <c:pt idx="2">
                  <c:v>3.854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J$2:$J$8</c:f>
              <c:numCache>
                <c:formatCode>General</c:formatCode>
                <c:ptCount val="7"/>
                <c:pt idx="0">
                  <c:v>3.0329999999999999</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A6BE36-181B-4206-BC08-13A3CF269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E9F45B-1887-43C1-A32B-AF47AD2305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60EDFF-4E01-419B-B526-2D7D806F2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807924-4E2F-4F98-BB06-88A5F1501A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9D20A00-183F-4ED6-B4B4-0D68C5F4E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1013F3A-6C7B-4E0E-9BB9-1B8A138C9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58881C7-F33D-4666-ABA7-4E218A67D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81D34DD-FC2A-4E3E-B58C-19EC5CE5DE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0327000000000002</c:v>
                </c:pt>
                <c:pt idx="1">
                  <c:v>2.2883</c:v>
                </c:pt>
                <c:pt idx="2">
                  <c:v>2.3494999999999999</c:v>
                </c:pt>
                <c:pt idx="3">
                  <c:v>2.9119999999999999</c:v>
                </c:pt>
                <c:pt idx="4">
                  <c:v>2.7605</c:v>
                </c:pt>
                <c:pt idx="5">
                  <c:v>3.2795000000000001</c:v>
                </c:pt>
                <c:pt idx="6">
                  <c:v>2.4449999999999998</c:v>
                </c:pt>
                <c:pt idx="7">
                  <c:v>2.4899</c:v>
                </c:pt>
                <c:pt idx="8">
                  <c:v>3.5445000000000002</c:v>
                </c:pt>
              </c:numCache>
            </c:numRef>
          </c:xVal>
          <c:yVal>
            <c:numRef>
              <c:f>Sheet1!$B$2:$B$10</c:f>
              <c:numCache>
                <c:formatCode>General</c:formatCode>
                <c:ptCount val="9"/>
                <c:pt idx="0">
                  <c:v>0.85599999999999998</c:v>
                </c:pt>
                <c:pt idx="1">
                  <c:v>0.79900000000000004</c:v>
                </c:pt>
                <c:pt idx="2">
                  <c:v>1.1379999999999999</c:v>
                </c:pt>
                <c:pt idx="3">
                  <c:v>1.0940000000000001</c:v>
                </c:pt>
                <c:pt idx="4">
                  <c:v>1.0580000000000001</c:v>
                </c:pt>
                <c:pt idx="5">
                  <c:v>1.161</c:v>
                </c:pt>
                <c:pt idx="6">
                  <c:v>1.2949999999999999</c:v>
                </c:pt>
                <c:pt idx="7">
                  <c:v>0.71799999999999997</c:v>
                </c:pt>
                <c:pt idx="8">
                  <c:v>1.488</c:v>
                </c:pt>
              </c:numCache>
            </c:numRef>
          </c:yVal>
          <c:bubbleSize>
            <c:numRef>
              <c:f>Sheet1!$C$2:$C$10</c:f>
              <c:numCache>
                <c:formatCode>General</c:formatCode>
                <c:ptCount val="9"/>
                <c:pt idx="0">
                  <c:v>519196378</c:v>
                </c:pt>
                <c:pt idx="1">
                  <c:v>58759599</c:v>
                </c:pt>
                <c:pt idx="2">
                  <c:v>58401688</c:v>
                </c:pt>
                <c:pt idx="3">
                  <c:v>51751764</c:v>
                </c:pt>
                <c:pt idx="4">
                  <c:v>48675142</c:v>
                </c:pt>
                <c:pt idx="5">
                  <c:v>47071227</c:v>
                </c:pt>
                <c:pt idx="6">
                  <c:v>40044170</c:v>
                </c:pt>
                <c:pt idx="7">
                  <c:v>38256036</c:v>
                </c:pt>
                <c:pt idx="8">
                  <c:v>3616245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Galbani</c:v>
                  </c:pt>
                  <c:pt idx="3">
                    <c:v>St Moret</c:v>
                  </c:pt>
                  <c:pt idx="4">
                    <c:v>Soignon</c:v>
                  </c:pt>
                  <c:pt idx="5">
                    <c:v>Caprice Des Dieux</c:v>
                  </c:pt>
                  <c:pt idx="6">
                    <c:v>Casa Azzurra</c:v>
                  </c:pt>
                  <c:pt idx="7">
                    <c:v>Coeur De Lion</c:v>
                  </c:pt>
                  <c:pt idx="8">
                    <c:v>Mini Baby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8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Galbani</c:v>
                </c:pt>
                <c:pt idx="2">
                  <c:v>Salakis</c:v>
                </c:pt>
                <c:pt idx="3">
                  <c:v>Casa Azzurra</c:v>
                </c:pt>
                <c:pt idx="4">
                  <c:v>All Others</c:v>
                </c:pt>
                <c:pt idx="5">
                  <c:v>Islos</c:v>
                </c:pt>
                <c:pt idx="6">
                  <c:v>Les Mousquetaires: All Others</c:v>
                </c:pt>
                <c:pt idx="7">
                  <c:v>Boursin</c:v>
                </c:pt>
              </c:strCache>
            </c:strRef>
          </c:cat>
          <c:val>
            <c:numRef>
              <c:f>Sheet1!$B$2:$B$9</c:f>
              <c:numCache>
                <c:formatCode>General</c:formatCode>
                <c:ptCount val="8"/>
                <c:pt idx="0">
                  <c:v>2.86350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Galbani</c:v>
                </c:pt>
                <c:pt idx="2">
                  <c:v>Salakis</c:v>
                </c:pt>
                <c:pt idx="3">
                  <c:v>Casa Azzurra</c:v>
                </c:pt>
                <c:pt idx="4">
                  <c:v>All Others</c:v>
                </c:pt>
                <c:pt idx="5">
                  <c:v>Islos</c:v>
                </c:pt>
                <c:pt idx="6">
                  <c:v>Les Mousquetaires: All Others</c:v>
                </c:pt>
                <c:pt idx="7">
                  <c:v>Boursin</c:v>
                </c:pt>
              </c:strCache>
            </c:strRef>
          </c:cat>
          <c:val>
            <c:numRef>
              <c:f>Sheet1!$C$2:$C$9</c:f>
              <c:numCache>
                <c:formatCode>General</c:formatCode>
                <c:ptCount val="8"/>
                <c:pt idx="0">
                  <c:v>1.8541000000000001</c:v>
                </c:pt>
                <c:pt idx="7">
                  <c:v>2.41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Galbani</c:v>
                </c:pt>
                <c:pt idx="2">
                  <c:v>Salakis</c:v>
                </c:pt>
                <c:pt idx="3">
                  <c:v>Casa Azzurra</c:v>
                </c:pt>
                <c:pt idx="4">
                  <c:v>All Others</c:v>
                </c:pt>
                <c:pt idx="5">
                  <c:v>Islos</c:v>
                </c:pt>
                <c:pt idx="6">
                  <c:v>Les Mousquetaires: All Others</c:v>
                </c:pt>
                <c:pt idx="7">
                  <c:v>Boursin</c:v>
                </c:pt>
              </c:strCache>
            </c:strRef>
          </c:cat>
          <c:val>
            <c:numRef>
              <c:f>Sheet1!$D$2:$D$9</c:f>
              <c:numCache>
                <c:formatCode>General</c:formatCode>
                <c:ptCount val="8"/>
                <c:pt idx="0">
                  <c:v>1.3976999999999999</c:v>
                </c:pt>
                <c:pt idx="1">
                  <c:v>1.6447000000000001</c:v>
                </c:pt>
                <c:pt idx="3">
                  <c:v>1.8250999999999999</c:v>
                </c:pt>
                <c:pt idx="4">
                  <c:v>2.79599999999999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Galbani</c:v>
                </c:pt>
                <c:pt idx="2">
                  <c:v>Salakis</c:v>
                </c:pt>
                <c:pt idx="3">
                  <c:v>Casa Azzurra</c:v>
                </c:pt>
                <c:pt idx="4">
                  <c:v>All Others</c:v>
                </c:pt>
                <c:pt idx="5">
                  <c:v>Islos</c:v>
                </c:pt>
                <c:pt idx="6">
                  <c:v>Les Mousquetaires: All Others</c:v>
                </c:pt>
                <c:pt idx="7">
                  <c:v>Boursin</c:v>
                </c:pt>
              </c:strCache>
            </c:strRef>
          </c:cat>
          <c:val>
            <c:numRef>
              <c:f>Sheet1!$E$2:$E$9</c:f>
              <c:numCache>
                <c:formatCode>General</c:formatCode>
                <c:ptCount val="8"/>
                <c:pt idx="0">
                  <c:v>2.1240000000000001</c:v>
                </c:pt>
                <c:pt idx="1">
                  <c:v>3.1242999999999999</c:v>
                </c:pt>
                <c:pt idx="2">
                  <c:v>2.8243999999999998</c:v>
                </c:pt>
                <c:pt idx="5">
                  <c:v>2.9125000000000001</c:v>
                </c:pt>
                <c:pt idx="6">
                  <c:v>3.47129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Galbani</c:v>
                </c:pt>
                <c:pt idx="2">
                  <c:v>Salakis</c:v>
                </c:pt>
                <c:pt idx="3">
                  <c:v>Casa Azzurra</c:v>
                </c:pt>
                <c:pt idx="4">
                  <c:v>All Others</c:v>
                </c:pt>
                <c:pt idx="5">
                  <c:v>Islos</c:v>
                </c:pt>
                <c:pt idx="6">
                  <c:v>Les Mousquetaires: All Others</c:v>
                </c:pt>
                <c:pt idx="7">
                  <c:v>Boursin</c:v>
                </c:pt>
              </c:strCache>
            </c:strRef>
          </c:cat>
          <c:val>
            <c:numRef>
              <c:f>Sheet1!$F$2:$F$9</c:f>
              <c:numCache>
                <c:formatCode>General</c:formatCode>
                <c:ptCount val="8"/>
                <c:pt idx="0">
                  <c:v>3.2107999999999999</c:v>
                </c:pt>
                <c:pt idx="2">
                  <c:v>2.737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Galbani</c:v>
                </c:pt>
                <c:pt idx="2">
                  <c:v>Salakis</c:v>
                </c:pt>
                <c:pt idx="3">
                  <c:v>Casa Azzurra</c:v>
                </c:pt>
                <c:pt idx="4">
                  <c:v>All Others</c:v>
                </c:pt>
                <c:pt idx="5">
                  <c:v>Islos</c:v>
                </c:pt>
                <c:pt idx="6">
                  <c:v>Les Mousquetaires: All Others</c:v>
                </c:pt>
                <c:pt idx="7">
                  <c:v>Boursin</c:v>
                </c:pt>
              </c:strCache>
            </c:strRef>
          </c:cat>
          <c:val>
            <c:numRef>
              <c:f>Sheet1!$G$2:$G$9</c:f>
              <c:numCache>
                <c:formatCode>General</c:formatCode>
                <c:ptCount val="8"/>
                <c:pt idx="0">
                  <c:v>1.7622</c:v>
                </c:pt>
                <c:pt idx="1">
                  <c:v>2.7461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Galbani</c:v>
                </c:pt>
                <c:pt idx="2">
                  <c:v>Salakis</c:v>
                </c:pt>
                <c:pt idx="3">
                  <c:v>Casa Azzurra</c:v>
                </c:pt>
                <c:pt idx="4">
                  <c:v>All Others</c:v>
                </c:pt>
                <c:pt idx="5">
                  <c:v>Islos</c:v>
                </c:pt>
                <c:pt idx="6">
                  <c:v>Les Mousquetaires: All Others</c:v>
                </c:pt>
                <c:pt idx="7">
                  <c:v>Boursin</c:v>
                </c:pt>
              </c:strCache>
            </c:strRef>
          </c:cat>
          <c:val>
            <c:numRef>
              <c:f>Sheet1!$H$2:$H$9</c:f>
              <c:numCache>
                <c:formatCode>General</c:formatCode>
                <c:ptCount val="8"/>
                <c:pt idx="0">
                  <c:v>2.1448</c:v>
                </c:pt>
                <c:pt idx="2">
                  <c:v>3.3100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Galbani</c:v>
                </c:pt>
                <c:pt idx="2">
                  <c:v>Salakis</c:v>
                </c:pt>
                <c:pt idx="3">
                  <c:v>Casa Azzurra</c:v>
                </c:pt>
                <c:pt idx="4">
                  <c:v>All Others</c:v>
                </c:pt>
                <c:pt idx="5">
                  <c:v>Islos</c:v>
                </c:pt>
                <c:pt idx="6">
                  <c:v>Les Mousquetaires: All Others</c:v>
                </c:pt>
                <c:pt idx="7">
                  <c:v>Boursin</c:v>
                </c:pt>
              </c:strCache>
            </c:strRef>
          </c:cat>
          <c:val>
            <c:numRef>
              <c:f>Sheet1!$I$2:$I$9</c:f>
              <c:numCache>
                <c:formatCode>General</c:formatCode>
                <c:ptCount val="8"/>
                <c:pt idx="1">
                  <c:v>3.55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Galbani</c:v>
                </c:pt>
                <c:pt idx="2">
                  <c:v>Salakis</c:v>
                </c:pt>
                <c:pt idx="3">
                  <c:v>Casa Azzurra</c:v>
                </c:pt>
                <c:pt idx="4">
                  <c:v>All Others</c:v>
                </c:pt>
                <c:pt idx="5">
                  <c:v>Islos</c:v>
                </c:pt>
                <c:pt idx="6">
                  <c:v>Les Mousquetaires: All Others</c:v>
                </c:pt>
                <c:pt idx="7">
                  <c:v>Boursin</c:v>
                </c:pt>
              </c:strCache>
            </c:strRef>
          </c:cat>
          <c:val>
            <c:numRef>
              <c:f>Sheet1!$J$2:$J$9</c:f>
              <c:numCache>
                <c:formatCode>General</c:formatCode>
                <c:ptCount val="8"/>
                <c:pt idx="0">
                  <c:v>2.9794</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EC865E-0D15-41CE-B0B1-0C527A8B6A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76EBEA-66AB-4C81-9136-03385F092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1A32689-66A6-4797-9DA4-D7FC9FA7C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79F79D3-D79A-4033-8418-C9927B442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EF47BA-3795-4800-87F4-C053A530C6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B459EF1-BF61-4873-A8AC-F75EDEE98D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FF66FEB-FD41-44F1-B5AD-BCDCAA12FC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E7C0ADD-2EF5-4E9B-9DD1-79C1975A02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1953999999999998</c:v>
                </c:pt>
                <c:pt idx="1">
                  <c:v>2.4110999999999998</c:v>
                </c:pt>
                <c:pt idx="2">
                  <c:v>3.0028999999999999</c:v>
                </c:pt>
                <c:pt idx="3">
                  <c:v>2.3096999999999999</c:v>
                </c:pt>
                <c:pt idx="4">
                  <c:v>2.8786</c:v>
                </c:pt>
                <c:pt idx="5">
                  <c:v>3.3563000000000001</c:v>
                </c:pt>
                <c:pt idx="6">
                  <c:v>2.6053999999999999</c:v>
                </c:pt>
                <c:pt idx="7">
                  <c:v>2.4415</c:v>
                </c:pt>
                <c:pt idx="8">
                  <c:v>3.2258</c:v>
                </c:pt>
              </c:numCache>
            </c:numRef>
          </c:xVal>
          <c:yVal>
            <c:numRef>
              <c:f>Sheet1!$B$2:$B$10</c:f>
              <c:numCache>
                <c:formatCode>General</c:formatCode>
                <c:ptCount val="9"/>
                <c:pt idx="0">
                  <c:v>0.88300000000000001</c:v>
                </c:pt>
                <c:pt idx="1">
                  <c:v>0.76100000000000001</c:v>
                </c:pt>
                <c:pt idx="2">
                  <c:v>1.079</c:v>
                </c:pt>
                <c:pt idx="3">
                  <c:v>1.073</c:v>
                </c:pt>
                <c:pt idx="4">
                  <c:v>1.0229999999999999</c:v>
                </c:pt>
                <c:pt idx="5">
                  <c:v>1.1419999999999999</c:v>
                </c:pt>
                <c:pt idx="6">
                  <c:v>1.3149999999999999</c:v>
                </c:pt>
                <c:pt idx="7">
                  <c:v>0.66900000000000004</c:v>
                </c:pt>
                <c:pt idx="8">
                  <c:v>0.82099999999999995</c:v>
                </c:pt>
              </c:numCache>
            </c:numRef>
          </c:yVal>
          <c:bubbleSize>
            <c:numRef>
              <c:f>Sheet1!$C$2:$C$10</c:f>
              <c:numCache>
                <c:formatCode>General</c:formatCode>
                <c:ptCount val="9"/>
                <c:pt idx="0">
                  <c:v>77897599</c:v>
                </c:pt>
                <c:pt idx="1">
                  <c:v>9302551</c:v>
                </c:pt>
                <c:pt idx="2">
                  <c:v>8811592</c:v>
                </c:pt>
                <c:pt idx="3">
                  <c:v>8667367</c:v>
                </c:pt>
                <c:pt idx="4">
                  <c:v>8594536</c:v>
                </c:pt>
                <c:pt idx="5">
                  <c:v>8328333</c:v>
                </c:pt>
                <c:pt idx="6">
                  <c:v>7504143</c:v>
                </c:pt>
                <c:pt idx="7">
                  <c:v>6782881</c:v>
                </c:pt>
                <c:pt idx="8">
                  <c:v>6741136</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t Moret</c:v>
                  </c:pt>
                  <c:pt idx="3">
                    <c:v>Galbani</c:v>
                  </c:pt>
                  <c:pt idx="4">
                    <c:v>Soignon</c:v>
                  </c:pt>
                  <c:pt idx="5">
                    <c:v>Caprice Des Dieux</c:v>
                  </c:pt>
                  <c:pt idx="6">
                    <c:v>Casa Azzurra</c:v>
                  </c:pt>
                  <c:pt idx="7">
                    <c:v>Coeur De Lion</c:v>
                  </c:pt>
                  <c:pt idx="8">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057CD9-E1A8-453E-843A-A6E5D0154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EF1D73-577E-49CD-935D-C26438383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54D50FF-877A-4FC3-ACD0-C28CAA7BC2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E4D748-70C3-48B8-9246-4349E7EF2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D25922E-9FB5-4200-AEF5-1653F9447A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6B2B71E-3EC2-4CCB-B522-BBAE0FC4D8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81B0F30-5679-4506-9F00-1CAA955C24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CF6D2A2-F33E-478C-80DA-FBAC1C0E8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0131000000000001</c:v>
                </c:pt>
                <c:pt idx="1">
                  <c:v>2.4689000000000001</c:v>
                </c:pt>
                <c:pt idx="2">
                  <c:v>2.3700999999999999</c:v>
                </c:pt>
                <c:pt idx="3">
                  <c:v>2.9885999999999999</c:v>
                </c:pt>
                <c:pt idx="4">
                  <c:v>2.7917999999999998</c:v>
                </c:pt>
                <c:pt idx="5">
                  <c:v>3.3898000000000001</c:v>
                </c:pt>
                <c:pt idx="6">
                  <c:v>2.5394000000000001</c:v>
                </c:pt>
                <c:pt idx="7">
                  <c:v>3.4443000000000001</c:v>
                </c:pt>
                <c:pt idx="8">
                  <c:v>3.0225</c:v>
                </c:pt>
              </c:numCache>
            </c:numRef>
          </c:xVal>
          <c:yVal>
            <c:numRef>
              <c:f>Sheet1!$B$2:$B$10</c:f>
              <c:numCache>
                <c:formatCode>General</c:formatCode>
                <c:ptCount val="9"/>
                <c:pt idx="0">
                  <c:v>0.84599999999999997</c:v>
                </c:pt>
                <c:pt idx="1">
                  <c:v>1.169</c:v>
                </c:pt>
                <c:pt idx="2">
                  <c:v>0.81699999999999995</c:v>
                </c:pt>
                <c:pt idx="3">
                  <c:v>1.0940000000000001</c:v>
                </c:pt>
                <c:pt idx="4">
                  <c:v>1.0469999999999999</c:v>
                </c:pt>
                <c:pt idx="5">
                  <c:v>1.19</c:v>
                </c:pt>
                <c:pt idx="6">
                  <c:v>0.749</c:v>
                </c:pt>
                <c:pt idx="7">
                  <c:v>0.97399999999999998</c:v>
                </c:pt>
                <c:pt idx="8">
                  <c:v>1.145</c:v>
                </c:pt>
              </c:numCache>
            </c:numRef>
          </c:yVal>
          <c:bubbleSize>
            <c:numRef>
              <c:f>Sheet1!$C$2:$C$10</c:f>
              <c:numCache>
                <c:formatCode>General</c:formatCode>
                <c:ptCount val="9"/>
                <c:pt idx="0">
                  <c:v>58897416</c:v>
                </c:pt>
                <c:pt idx="1">
                  <c:v>11602323</c:v>
                </c:pt>
                <c:pt idx="2">
                  <c:v>9875140</c:v>
                </c:pt>
                <c:pt idx="3">
                  <c:v>8620814</c:v>
                </c:pt>
                <c:pt idx="4">
                  <c:v>8261704</c:v>
                </c:pt>
                <c:pt idx="5">
                  <c:v>7436715</c:v>
                </c:pt>
                <c:pt idx="6">
                  <c:v>6495624</c:v>
                </c:pt>
                <c:pt idx="7">
                  <c:v>5658598</c:v>
                </c:pt>
                <c:pt idx="8">
                  <c:v>5434262</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President</c:v>
                  </c:pt>
                  <c:pt idx="3">
                    <c:v>St Moret</c:v>
                  </c:pt>
                  <c:pt idx="4">
                    <c:v>Soignon</c:v>
                  </c:pt>
                  <c:pt idx="5">
                    <c:v>Caprice Des Dieux</c:v>
                  </c:pt>
                  <c:pt idx="6">
                    <c:v>Coeur De Lion</c:v>
                  </c:pt>
                  <c:pt idx="7">
                    <c:v>La Vache Qui Rit</c:v>
                  </c:pt>
                  <c:pt idx="8">
                    <c:v>Salak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A8E9C49-BAC6-442C-AED1-145D24BF0D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E2095CD-5DF8-4BBA-B1D1-086D4B2B7C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A0D5A08-5D3C-4130-BCF5-2A8B99028F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DF4697B-EAEC-4F8B-A4A7-EF6A595A8B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941D353-BA77-4E47-803A-380D23330D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D1E34E4-EFEE-4649-BA25-2831D95D6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B252EA3-26AC-466C-A83A-40F3C35E3D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2E0206B-FABE-4F15-8107-8807BCAC33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7187000000000001</c:v>
                </c:pt>
                <c:pt idx="1">
                  <c:v>2.0144000000000002</c:v>
                </c:pt>
                <c:pt idx="2">
                  <c:v>3.5047999999999999</c:v>
                </c:pt>
                <c:pt idx="3">
                  <c:v>2.8439999999999999</c:v>
                </c:pt>
                <c:pt idx="4">
                  <c:v>2.6423000000000001</c:v>
                </c:pt>
              </c:numCache>
            </c:numRef>
          </c:xVal>
          <c:yVal>
            <c:numRef>
              <c:f>Sheet1!$B$2:$B$6</c:f>
              <c:numCache>
                <c:formatCode>General</c:formatCode>
                <c:ptCount val="5"/>
                <c:pt idx="0">
                  <c:v>0.872</c:v>
                </c:pt>
                <c:pt idx="1">
                  <c:v>1.014</c:v>
                </c:pt>
                <c:pt idx="2">
                  <c:v>1.7649999999999999</c:v>
                </c:pt>
                <c:pt idx="3">
                  <c:v>1.306</c:v>
                </c:pt>
                <c:pt idx="4">
                  <c:v>1.331</c:v>
                </c:pt>
              </c:numCache>
            </c:numRef>
          </c:yVal>
          <c:bubbleSize>
            <c:numRef>
              <c:f>Sheet1!$C$2:$C$6</c:f>
              <c:numCache>
                <c:formatCode>General</c:formatCode>
                <c:ptCount val="5"/>
                <c:pt idx="0">
                  <c:v>32111482</c:v>
                </c:pt>
                <c:pt idx="1">
                  <c:v>8926552</c:v>
                </c:pt>
                <c:pt idx="2">
                  <c:v>4826639</c:v>
                </c:pt>
                <c:pt idx="3">
                  <c:v>3695927</c:v>
                </c:pt>
                <c:pt idx="4">
                  <c:v>2844424</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8F5D31-F09D-4CB7-B11A-CC1AFE8163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B4ACFAC-D3EA-4AAB-8608-7A1F4EFBA1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B175E8-93A5-4A53-BD1A-010C7313D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49CE267-25F5-4D17-936B-EC777F5DC3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B95B348-C6CA-43A1-B058-7101C3D1D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88E4ED9-1578-4503-90B5-7D273D5E5C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97D9D56-9068-4C4F-A337-349D949E06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39217A3-6297-4A5F-8EBF-B9FBFF8FE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3.8580999999999999</c:v>
                </c:pt>
                <c:pt idx="1">
                  <c:v>2.1343000000000001</c:v>
                </c:pt>
                <c:pt idx="2">
                  <c:v>3.4523000000000001</c:v>
                </c:pt>
                <c:pt idx="3">
                  <c:v>3.1278999999999999</c:v>
                </c:pt>
                <c:pt idx="4">
                  <c:v>2.6861999999999999</c:v>
                </c:pt>
                <c:pt idx="5">
                  <c:v>5.2592999999999996</c:v>
                </c:pt>
                <c:pt idx="6">
                  <c:v>1.8669</c:v>
                </c:pt>
              </c:numCache>
            </c:numRef>
          </c:xVal>
          <c:yVal>
            <c:numRef>
              <c:f>Sheet1!$B$2:$B$8</c:f>
              <c:numCache>
                <c:formatCode>General</c:formatCode>
                <c:ptCount val="7"/>
                <c:pt idx="0">
                  <c:v>0.871</c:v>
                </c:pt>
                <c:pt idx="1">
                  <c:v>1.0189999999999999</c:v>
                </c:pt>
                <c:pt idx="2">
                  <c:v>1.6479999999999999</c:v>
                </c:pt>
                <c:pt idx="3">
                  <c:v>1.492</c:v>
                </c:pt>
                <c:pt idx="4">
                  <c:v>1.2849999999999999</c:v>
                </c:pt>
                <c:pt idx="5">
                  <c:v>1.585</c:v>
                </c:pt>
                <c:pt idx="6">
                  <c:v>1.9950000000000001</c:v>
                </c:pt>
              </c:numCache>
            </c:numRef>
          </c:yVal>
          <c:bubbleSize>
            <c:numRef>
              <c:f>Sheet1!$C$2:$C$8</c:f>
              <c:numCache>
                <c:formatCode>General</c:formatCode>
                <c:ptCount val="7"/>
                <c:pt idx="0">
                  <c:v>6113168</c:v>
                </c:pt>
                <c:pt idx="1">
                  <c:v>1692864</c:v>
                </c:pt>
                <c:pt idx="2">
                  <c:v>1030688</c:v>
                </c:pt>
                <c:pt idx="3">
                  <c:v>505315</c:v>
                </c:pt>
                <c:pt idx="4">
                  <c:v>349471</c:v>
                </c:pt>
                <c:pt idx="5">
                  <c:v>128289</c:v>
                </c:pt>
                <c:pt idx="6">
                  <c:v>121788</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pt idx="6">
                    <c:v>Leerdamm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95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376AF0-5EE6-4CF8-837F-12E333B07D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582AFF-37C7-4542-A543-505871131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BC80A49-3642-41A3-B208-A0F8060C0B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5120FE-2786-416E-9090-A791F89FB1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0D0C2DD-9428-42FD-B242-D390AB19F1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FE64CDF-9330-49B5-BBD0-AA753487B2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74FF96F-FE5D-4252-A945-0ECDD1FC2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2883D97-DF67-47C2-9D0B-5A034D53A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9350000000000001</c:v>
                </c:pt>
                <c:pt idx="1">
                  <c:v>2.1753</c:v>
                </c:pt>
                <c:pt idx="2">
                  <c:v>3.5583</c:v>
                </c:pt>
                <c:pt idx="3">
                  <c:v>2.6888000000000001</c:v>
                </c:pt>
                <c:pt idx="4">
                  <c:v>2.6114000000000002</c:v>
                </c:pt>
              </c:numCache>
            </c:numRef>
          </c:xVal>
          <c:yVal>
            <c:numRef>
              <c:f>Sheet1!$B$2:$B$6</c:f>
              <c:numCache>
                <c:formatCode>General</c:formatCode>
                <c:ptCount val="5"/>
                <c:pt idx="0">
                  <c:v>0.88</c:v>
                </c:pt>
                <c:pt idx="1">
                  <c:v>1.0760000000000001</c:v>
                </c:pt>
                <c:pt idx="2">
                  <c:v>1.7609999999999999</c:v>
                </c:pt>
                <c:pt idx="3">
                  <c:v>1.331</c:v>
                </c:pt>
                <c:pt idx="4">
                  <c:v>0.97599999999999998</c:v>
                </c:pt>
              </c:numCache>
            </c:numRef>
          </c:yVal>
          <c:bubbleSize>
            <c:numRef>
              <c:f>Sheet1!$C$2:$C$6</c:f>
              <c:numCache>
                <c:formatCode>General</c:formatCode>
                <c:ptCount val="5"/>
                <c:pt idx="0">
                  <c:v>5772129</c:v>
                </c:pt>
                <c:pt idx="1">
                  <c:v>1439845</c:v>
                </c:pt>
                <c:pt idx="2">
                  <c:v>1178065</c:v>
                </c:pt>
                <c:pt idx="3">
                  <c:v>808897</c:v>
                </c:pt>
                <c:pt idx="4">
                  <c:v>736159</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St Moret</c:v>
                  </c:pt>
                  <c:pt idx="4">
                    <c:v>Private La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10/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0/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1.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3.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24.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25.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26.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2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28.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29.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0.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1.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34.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35.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36.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3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38.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39.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0.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98570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6304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85772"/>
            <a:ext cx="4869366" cy="7176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21841"/>
            <a:ext cx="4869366" cy="145373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552910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Ingredient A Chaud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619480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101115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32657"/>
            <a:ext cx="4869366" cy="66952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2593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Ingredient A Chaud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670106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12886"/>
            <a:ext cx="4869366" cy="100949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39486"/>
            <a:ext cx="4869366" cy="6672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314659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845364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902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9461"/>
            <a:ext cx="4869366" cy="8787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3131"/>
            <a:ext cx="4869366" cy="5808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8910"/>
            <a:ext cx="4869366" cy="117666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893657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4881969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7848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97773"/>
            <a:ext cx="4869366" cy="8826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95360"/>
            <a:ext cx="4869366" cy="58343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3752"/>
            <a:ext cx="4869366" cy="118182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192235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410397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1264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32298"/>
            <a:ext cx="4869366" cy="9042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51832"/>
            <a:ext cx="4869366" cy="5976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4855"/>
            <a:ext cx="4869366" cy="12107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986584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503159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1479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38759"/>
            <a:ext cx="4869366" cy="76584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24243"/>
            <a:ext cx="4869366" cy="155133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592162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144535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92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2701"/>
            <a:ext cx="4869366" cy="7448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6693"/>
            <a:ext cx="4869366" cy="150888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403830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296976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4498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69531"/>
            <a:ext cx="4869366" cy="78853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78285"/>
            <a:ext cx="4869366" cy="159729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409314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343275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6700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89701"/>
            <a:ext cx="4869366" cy="7163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571353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558910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07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5535"/>
            <a:ext cx="4869366" cy="7963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353467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328170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775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22702"/>
            <a:ext cx="4869366" cy="8038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47197"/>
            <a:ext cx="4869366" cy="162837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802973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748126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46634"/>
            <a:ext cx="4869366" cy="99836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61922"/>
            <a:ext cx="4869366" cy="65993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546548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8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agu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898270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O'Tapas Ape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766912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4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agu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400328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2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29903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3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963848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97343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NATION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430392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Carrefour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171954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Intermarche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062438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139314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0767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32540"/>
            <a:ext cx="4869366" cy="8006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53728"/>
            <a:ext cx="4869366" cy="16218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896106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466172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987722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190307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354375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556898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597057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817558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442130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89968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697519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401041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878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10421"/>
            <a:ext cx="4869366" cy="7095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38204"/>
            <a:ext cx="4869366" cy="143737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0807498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5020038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085495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882314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696079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329441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776176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478118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317408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85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63178"/>
            <a:ext cx="4869366" cy="79061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74068"/>
            <a:ext cx="4869366" cy="160150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752132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59941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46236"/>
            <a:ext cx="4869366" cy="8617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530048"/>
            <a:ext cx="4869366" cy="17455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673922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313748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77851"/>
            <a:ext cx="4869366" cy="92215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5636"/>
            <a:ext cx="4869366" cy="6095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091904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282309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5268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71007"/>
            <a:ext cx="4869366" cy="8255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10527"/>
            <a:ext cx="4869366" cy="5456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247338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526114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72144"/>
            <a:ext cx="4869366" cy="9240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1842"/>
            <a:ext cx="4869366" cy="6108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566254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4109</Words>
  <Application>Microsoft Office PowerPoint</Application>
  <PresentationFormat>On-screen Show (16:9)</PresentationFormat>
  <Paragraphs>1080</Paragraphs>
  <Slides>46</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6</vt:i4>
      </vt:variant>
    </vt:vector>
  </HeadingPairs>
  <TitlesOfParts>
    <vt:vector size="56"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6</cp:revision>
  <dcterms:created xsi:type="dcterms:W3CDTF">2024-07-05T14:56:51Z</dcterms:created>
  <dcterms:modified xsi:type="dcterms:W3CDTF">2025-09-10T16:14: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